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727" r:id="rId2"/>
  </p:sldMasterIdLst>
  <p:notesMasterIdLst>
    <p:notesMasterId r:id="rId64"/>
  </p:notesMasterIdLst>
  <p:sldIdLst>
    <p:sldId id="393" r:id="rId3"/>
    <p:sldId id="2147479230" r:id="rId4"/>
    <p:sldId id="2147479176" r:id="rId5"/>
    <p:sldId id="2147479177" r:id="rId6"/>
    <p:sldId id="384" r:id="rId7"/>
    <p:sldId id="2147479217" r:id="rId8"/>
    <p:sldId id="2147479179" r:id="rId9"/>
    <p:sldId id="2147479180" r:id="rId10"/>
    <p:sldId id="2147479181" r:id="rId11"/>
    <p:sldId id="2147479190" r:id="rId12"/>
    <p:sldId id="2147479189" r:id="rId13"/>
    <p:sldId id="2147479184" r:id="rId14"/>
    <p:sldId id="2147479186" r:id="rId15"/>
    <p:sldId id="2147479185" r:id="rId16"/>
    <p:sldId id="2147479187" r:id="rId17"/>
    <p:sldId id="2147479191" r:id="rId18"/>
    <p:sldId id="2147479188" r:id="rId19"/>
    <p:sldId id="2147479192" r:id="rId20"/>
    <p:sldId id="284" r:id="rId21"/>
    <p:sldId id="285" r:id="rId22"/>
    <p:sldId id="286" r:id="rId23"/>
    <p:sldId id="287" r:id="rId24"/>
    <p:sldId id="2147479194" r:id="rId25"/>
    <p:sldId id="2147479195" r:id="rId26"/>
    <p:sldId id="383" r:id="rId27"/>
    <p:sldId id="385" r:id="rId28"/>
    <p:sldId id="406" r:id="rId29"/>
    <p:sldId id="409" r:id="rId30"/>
    <p:sldId id="410" r:id="rId31"/>
    <p:sldId id="2147479196" r:id="rId32"/>
    <p:sldId id="2147479198" r:id="rId33"/>
    <p:sldId id="2147479193" r:id="rId34"/>
    <p:sldId id="2147479197" r:id="rId35"/>
    <p:sldId id="2147479222" r:id="rId36"/>
    <p:sldId id="2147479226" r:id="rId37"/>
    <p:sldId id="2147479223" r:id="rId38"/>
    <p:sldId id="2147479227" r:id="rId39"/>
    <p:sldId id="2147479228" r:id="rId40"/>
    <p:sldId id="2147479202" r:id="rId41"/>
    <p:sldId id="2147479203" r:id="rId42"/>
    <p:sldId id="2147479204" r:id="rId43"/>
    <p:sldId id="2147479219" r:id="rId44"/>
    <p:sldId id="2147479229" r:id="rId45"/>
    <p:sldId id="2147479220" r:id="rId46"/>
    <p:sldId id="2147479225" r:id="rId47"/>
    <p:sldId id="2147479206" r:id="rId48"/>
    <p:sldId id="417" r:id="rId49"/>
    <p:sldId id="2147479207" r:id="rId50"/>
    <p:sldId id="2147479208" r:id="rId51"/>
    <p:sldId id="2147479211" r:id="rId52"/>
    <p:sldId id="2147479212" r:id="rId53"/>
    <p:sldId id="2147479209" r:id="rId54"/>
    <p:sldId id="2147479213" r:id="rId55"/>
    <p:sldId id="2147479210" r:id="rId56"/>
    <p:sldId id="2147479214" r:id="rId57"/>
    <p:sldId id="2147479215" r:id="rId58"/>
    <p:sldId id="2147479224" r:id="rId59"/>
    <p:sldId id="403" r:id="rId60"/>
    <p:sldId id="2147479216" r:id="rId61"/>
    <p:sldId id="2147479221" r:id="rId62"/>
    <p:sldId id="394" r:id="rId63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88F"/>
    <a:srgbClr val="FF7E00"/>
    <a:srgbClr val="FFF8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3AE8FF-A8DD-4B2F-B70E-6D5030D868AD}" v="86" dt="2024-12-11T14:23:42.2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2921" autoAdjust="0"/>
  </p:normalViewPr>
  <p:slideViewPr>
    <p:cSldViewPr snapToGrid="0">
      <p:cViewPr varScale="1">
        <p:scale>
          <a:sx n="103" d="100"/>
          <a:sy n="103" d="100"/>
        </p:scale>
        <p:origin x="198" y="15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viewProps" Target="view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notesMaster" Target="notesMasters/notesMaster1.xml"/><Relationship Id="rId69" Type="http://schemas.microsoft.com/office/2016/11/relationships/changesInfo" Target="changesInfos/changesInfo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E23AE8FF-A8DD-4B2F-B70E-6D5030D868AD}"/>
    <pc:docChg chg="custSel addSld delSld modSld">
      <pc:chgData name="Koen Verbeeck" userId="24d0e79a7fd977da" providerId="LiveId" clId="{E23AE8FF-A8DD-4B2F-B70E-6D5030D868AD}" dt="2024-12-11T14:23:42.281" v="207"/>
      <pc:docMkLst>
        <pc:docMk/>
      </pc:docMkLst>
      <pc:sldChg chg="del">
        <pc:chgData name="Koen Verbeeck" userId="24d0e79a7fd977da" providerId="LiveId" clId="{E23AE8FF-A8DD-4B2F-B70E-6D5030D868AD}" dt="2024-12-11T13:58:49.102" v="9" actId="47"/>
        <pc:sldMkLst>
          <pc:docMk/>
          <pc:sldMk cId="4165279226" sldId="265"/>
        </pc:sldMkLst>
      </pc:sldChg>
      <pc:sldChg chg="del">
        <pc:chgData name="Koen Verbeeck" userId="24d0e79a7fd977da" providerId="LiveId" clId="{E23AE8FF-A8DD-4B2F-B70E-6D5030D868AD}" dt="2024-12-11T14:01:09.823" v="122" actId="47"/>
        <pc:sldMkLst>
          <pc:docMk/>
          <pc:sldMk cId="3199220616" sldId="404"/>
        </pc:sldMkLst>
      </pc:sldChg>
      <pc:sldChg chg="del">
        <pc:chgData name="Koen Verbeeck" userId="24d0e79a7fd977da" providerId="LiveId" clId="{E23AE8FF-A8DD-4B2F-B70E-6D5030D868AD}" dt="2024-12-11T14:03:37.229" v="123" actId="47"/>
        <pc:sldMkLst>
          <pc:docMk/>
          <pc:sldMk cId="1588850713" sldId="2147479201"/>
        </pc:sldMkLst>
      </pc:sldChg>
      <pc:sldChg chg="del">
        <pc:chgData name="Koen Verbeeck" userId="24d0e79a7fd977da" providerId="LiveId" clId="{E23AE8FF-A8DD-4B2F-B70E-6D5030D868AD}" dt="2024-12-11T14:03:39.964" v="124" actId="47"/>
        <pc:sldMkLst>
          <pc:docMk/>
          <pc:sldMk cId="3637547467" sldId="2147479205"/>
        </pc:sldMkLst>
      </pc:sldChg>
      <pc:sldChg chg="modSp mod modAnim">
        <pc:chgData name="Koen Verbeeck" userId="24d0e79a7fd977da" providerId="LiveId" clId="{E23AE8FF-A8DD-4B2F-B70E-6D5030D868AD}" dt="2024-12-11T14:19:37.137" v="206"/>
        <pc:sldMkLst>
          <pc:docMk/>
          <pc:sldMk cId="1564335061" sldId="2147479215"/>
        </pc:sldMkLst>
        <pc:spChg chg="mod">
          <ac:chgData name="Koen Verbeeck" userId="24d0e79a7fd977da" providerId="LiveId" clId="{E23AE8FF-A8DD-4B2F-B70E-6D5030D868AD}" dt="2024-12-11T14:19:25.591" v="204" actId="113"/>
          <ac:spMkLst>
            <pc:docMk/>
            <pc:sldMk cId="1564335061" sldId="2147479215"/>
            <ac:spMk id="3" creationId="{36C1E64A-374C-7F01-4DFF-FEC6394B1736}"/>
          </ac:spMkLst>
        </pc:spChg>
      </pc:sldChg>
      <pc:sldChg chg="modNotesTx">
        <pc:chgData name="Koen Verbeeck" userId="24d0e79a7fd977da" providerId="LiveId" clId="{E23AE8FF-A8DD-4B2F-B70E-6D5030D868AD}" dt="2024-12-11T13:59:53.008" v="121" actId="20577"/>
        <pc:sldMkLst>
          <pc:docMk/>
          <pc:sldMk cId="595672373" sldId="2147479217"/>
        </pc:sldMkLst>
      </pc:sldChg>
      <pc:sldChg chg="add del setBg">
        <pc:chgData name="Koen Verbeeck" userId="24d0e79a7fd977da" providerId="LiveId" clId="{E23AE8FF-A8DD-4B2F-B70E-6D5030D868AD}" dt="2024-12-11T13:58:08.733" v="1"/>
        <pc:sldMkLst>
          <pc:docMk/>
          <pc:sldMk cId="1029708499" sldId="2147479230"/>
        </pc:sldMkLst>
      </pc:sldChg>
      <pc:sldChg chg="addSp modSp add mod modAnim">
        <pc:chgData name="Koen Verbeeck" userId="24d0e79a7fd977da" providerId="LiveId" clId="{E23AE8FF-A8DD-4B2F-B70E-6D5030D868AD}" dt="2024-12-11T14:23:42.281" v="207"/>
        <pc:sldMkLst>
          <pc:docMk/>
          <pc:sldMk cId="4212283809" sldId="2147479230"/>
        </pc:sldMkLst>
        <pc:picChg chg="add mod">
          <ac:chgData name="Koen Verbeeck" userId="24d0e79a7fd977da" providerId="LiveId" clId="{E23AE8FF-A8DD-4B2F-B70E-6D5030D868AD}" dt="2024-12-11T13:58:37.988" v="7" actId="1076"/>
          <ac:picMkLst>
            <pc:docMk/>
            <pc:sldMk cId="4212283809" sldId="2147479230"/>
            <ac:picMk id="3" creationId="{77E935B5-D698-9B52-40EE-90605D13665F}"/>
          </ac:picMkLst>
        </pc:picChg>
        <pc:picChg chg="mod">
          <ac:chgData name="Koen Verbeeck" userId="24d0e79a7fd977da" providerId="LiveId" clId="{E23AE8FF-A8DD-4B2F-B70E-6D5030D868AD}" dt="2024-12-11T13:58:19.596" v="3" actId="1076"/>
          <ac:picMkLst>
            <pc:docMk/>
            <pc:sldMk cId="4212283809" sldId="2147479230"/>
            <ac:picMk id="56" creationId="{CC9055A4-4272-1062-D65C-98DF10FCAC57}"/>
          </ac:picMkLst>
        </pc:picChg>
        <pc:picChg chg="mod">
          <ac:chgData name="Koen Verbeeck" userId="24d0e79a7fd977da" providerId="LiveId" clId="{E23AE8FF-A8DD-4B2F-B70E-6D5030D868AD}" dt="2024-12-11T13:58:43.207" v="8" actId="1076"/>
          <ac:picMkLst>
            <pc:docMk/>
            <pc:sldMk cId="4212283809" sldId="2147479230"/>
            <ac:picMk id="57" creationId="{C50BFA4D-E41C-7C05-7AE4-221EDD4FE28C}"/>
          </ac:picMkLst>
        </pc:picChg>
      </pc:sldChg>
    </pc:docChg>
  </pc:docChgLst>
  <pc:docChgLst>
    <pc:chgData name="Koen Verbeeck" userId="24d0e79a7fd977da" providerId="LiveId" clId="{2915C232-C127-43C9-B354-7AEAA8B11E4E}"/>
    <pc:docChg chg="undo redo custSel addSld delSld modSld sldOrd modMainMaster">
      <pc:chgData name="Koen Verbeeck" userId="24d0e79a7fd977da" providerId="LiveId" clId="{2915C232-C127-43C9-B354-7AEAA8B11E4E}" dt="2024-03-31T20:36:57.277" v="6814" actId="1076"/>
      <pc:docMkLst>
        <pc:docMk/>
      </pc:docMkLst>
      <pc:sldChg chg="delSp modSp mod modTransition">
        <pc:chgData name="Koen Verbeeck" userId="24d0e79a7fd977da" providerId="LiveId" clId="{2915C232-C127-43C9-B354-7AEAA8B11E4E}" dt="2024-03-31T20:11:13.741" v="6615"/>
        <pc:sldMkLst>
          <pc:docMk/>
          <pc:sldMk cId="4165279226" sldId="265"/>
        </pc:sldMkLst>
        <pc:spChg chg="del mod">
          <ac:chgData name="Koen Verbeeck" userId="24d0e79a7fd977da" providerId="LiveId" clId="{2915C232-C127-43C9-B354-7AEAA8B11E4E}" dt="2024-03-17T13:25:38.450" v="168" actId="478"/>
          <ac:spMkLst>
            <pc:docMk/>
            <pc:sldMk cId="4165279226" sldId="265"/>
            <ac:spMk id="24" creationId="{BFF25780-A8C4-4535-819C-7DA44AC5906F}"/>
          </ac:spMkLst>
        </pc:spChg>
        <pc:picChg chg="mod">
          <ac:chgData name="Koen Verbeeck" userId="24d0e79a7fd977da" providerId="LiveId" clId="{2915C232-C127-43C9-B354-7AEAA8B11E4E}" dt="2024-03-17T13:25:48.979" v="169" actId="1076"/>
          <ac:picMkLst>
            <pc:docMk/>
            <pc:sldMk cId="4165279226" sldId="265"/>
            <ac:picMk id="3" creationId="{D2C93DC1-82B1-57AC-8ADE-65CBBC98F131}"/>
          </ac:picMkLst>
        </pc:picChg>
        <pc:picChg chg="mod">
          <ac:chgData name="Koen Verbeeck" userId="24d0e79a7fd977da" providerId="LiveId" clId="{2915C232-C127-43C9-B354-7AEAA8B11E4E}" dt="2024-03-17T13:25:17.776" v="165" actId="12789"/>
          <ac:picMkLst>
            <pc:docMk/>
            <pc:sldMk cId="4165279226" sldId="265"/>
            <ac:picMk id="14" creationId="{8EAA10CD-9D1C-4C49-B5AE-58226636C59C}"/>
          </ac:picMkLst>
        </pc:picChg>
        <pc:picChg chg="mod">
          <ac:chgData name="Koen Verbeeck" userId="24d0e79a7fd977da" providerId="LiveId" clId="{2915C232-C127-43C9-B354-7AEAA8B11E4E}" dt="2024-03-17T13:25:24.678" v="166" actId="408"/>
          <ac:picMkLst>
            <pc:docMk/>
            <pc:sldMk cId="4165279226" sldId="265"/>
            <ac:picMk id="17" creationId="{5D161C8D-663B-4479-82E4-47BE03A5F6F6}"/>
          </ac:picMkLst>
        </pc:picChg>
        <pc:picChg chg="mod">
          <ac:chgData name="Koen Verbeeck" userId="24d0e79a7fd977da" providerId="LiveId" clId="{2915C232-C127-43C9-B354-7AEAA8B11E4E}" dt="2024-03-17T13:25:17.776" v="165" actId="12789"/>
          <ac:picMkLst>
            <pc:docMk/>
            <pc:sldMk cId="4165279226" sldId="265"/>
            <ac:picMk id="18" creationId="{6567CC35-AC26-4F78-A0DA-AF4C0D772EB3}"/>
          </ac:picMkLst>
        </pc:picChg>
      </pc:sldChg>
      <pc:sldChg chg="addSp delSp modSp add mod modTransition">
        <pc:chgData name="Koen Verbeeck" userId="24d0e79a7fd977da" providerId="LiveId" clId="{2915C232-C127-43C9-B354-7AEAA8B11E4E}" dt="2024-03-31T20:11:13.741" v="6615"/>
        <pc:sldMkLst>
          <pc:docMk/>
          <pc:sldMk cId="281771224" sldId="284"/>
        </pc:sldMkLst>
        <pc:spChg chg="add del mod">
          <ac:chgData name="Koen Verbeeck" userId="24d0e79a7fd977da" providerId="LiveId" clId="{2915C232-C127-43C9-B354-7AEAA8B11E4E}" dt="2024-03-17T15:04:22.527" v="2008" actId="478"/>
          <ac:spMkLst>
            <pc:docMk/>
            <pc:sldMk cId="281771224" sldId="284"/>
            <ac:spMk id="2" creationId="{479CB673-1078-1B29-1D96-38E3A78EB882}"/>
          </ac:spMkLst>
        </pc:spChg>
        <pc:spChg chg="add mod">
          <ac:chgData name="Koen Verbeeck" userId="24d0e79a7fd977da" providerId="LiveId" clId="{2915C232-C127-43C9-B354-7AEAA8B11E4E}" dt="2024-03-17T15:05:09.029" v="2042"/>
          <ac:spMkLst>
            <pc:docMk/>
            <pc:sldMk cId="281771224" sldId="284"/>
            <ac:spMk id="3" creationId="{7ABBA77C-5E4F-30AC-A257-FFFC1436ED2A}"/>
          </ac:spMkLst>
        </pc:spChg>
        <pc:spChg chg="add del">
          <ac:chgData name="Koen Verbeeck" userId="24d0e79a7fd977da" providerId="LiveId" clId="{2915C232-C127-43C9-B354-7AEAA8B11E4E}" dt="2024-03-17T15:05:07.881" v="2038" actId="478"/>
          <ac:spMkLst>
            <pc:docMk/>
            <pc:sldMk cId="281771224" sldId="284"/>
            <ac:spMk id="4" creationId="{5920F31D-0130-46CE-BD74-AF2DA2AFAE23}"/>
          </ac:spMkLst>
        </pc:spChg>
        <pc:spChg chg="add del mod">
          <ac:chgData name="Koen Verbeeck" userId="24d0e79a7fd977da" providerId="LiveId" clId="{2915C232-C127-43C9-B354-7AEAA8B11E4E}" dt="2024-03-17T15:05:07.881" v="2038" actId="478"/>
          <ac:spMkLst>
            <pc:docMk/>
            <pc:sldMk cId="281771224" sldId="284"/>
            <ac:spMk id="7" creationId="{3DF65362-D541-6134-CD71-6CD88D9F2855}"/>
          </ac:spMkLst>
        </pc:spChg>
      </pc:sldChg>
      <pc:sldChg chg="add modTransition">
        <pc:chgData name="Koen Verbeeck" userId="24d0e79a7fd977da" providerId="LiveId" clId="{2915C232-C127-43C9-B354-7AEAA8B11E4E}" dt="2024-03-31T20:11:13.741" v="6615"/>
        <pc:sldMkLst>
          <pc:docMk/>
          <pc:sldMk cId="1552493767" sldId="285"/>
        </pc:sldMkLst>
      </pc:sldChg>
      <pc:sldChg chg="add modTransition">
        <pc:chgData name="Koen Verbeeck" userId="24d0e79a7fd977da" providerId="LiveId" clId="{2915C232-C127-43C9-B354-7AEAA8B11E4E}" dt="2024-03-31T20:11:13.741" v="6615"/>
        <pc:sldMkLst>
          <pc:docMk/>
          <pc:sldMk cId="3884648072" sldId="286"/>
        </pc:sldMkLst>
      </pc:sldChg>
      <pc:sldChg chg="modSp add mod modTransition">
        <pc:chgData name="Koen Verbeeck" userId="24d0e79a7fd977da" providerId="LiveId" clId="{2915C232-C127-43C9-B354-7AEAA8B11E4E}" dt="2024-03-31T20:11:13.741" v="6615"/>
        <pc:sldMkLst>
          <pc:docMk/>
          <pc:sldMk cId="2123045658" sldId="287"/>
        </pc:sldMkLst>
        <pc:spChg chg="mod">
          <ac:chgData name="Koen Verbeeck" userId="24d0e79a7fd977da" providerId="LiveId" clId="{2915C232-C127-43C9-B354-7AEAA8B11E4E}" dt="2024-03-17T15:12:52.566" v="2190" actId="1076"/>
          <ac:spMkLst>
            <pc:docMk/>
            <pc:sldMk cId="2123045658" sldId="287"/>
            <ac:spMk id="12" creationId="{80971B56-C51B-4B9E-B9CB-2AA441125B86}"/>
          </ac:spMkLst>
        </pc:spChg>
      </pc:sldChg>
      <pc:sldChg chg="modSp add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4137338595" sldId="383"/>
        </pc:sldMkLst>
        <pc:spChg chg="mod ord">
          <ac:chgData name="Koen Verbeeck" userId="24d0e79a7fd977da" providerId="LiveId" clId="{2915C232-C127-43C9-B354-7AEAA8B11E4E}" dt="2024-03-17T15:10:12.247" v="2077" actId="700"/>
          <ac:spMkLst>
            <pc:docMk/>
            <pc:sldMk cId="4137338595" sldId="383"/>
            <ac:spMk id="3" creationId="{B8557147-512F-08EE-F1A7-0E77A96220AB}"/>
          </ac:spMkLst>
        </pc:spChg>
        <pc:spChg chg="mod">
          <ac:chgData name="Koen Verbeeck" userId="24d0e79a7fd977da" providerId="LiveId" clId="{2915C232-C127-43C9-B354-7AEAA8B11E4E}" dt="2024-03-17T15:10:41.507" v="2093" actId="1036"/>
          <ac:spMkLst>
            <pc:docMk/>
            <pc:sldMk cId="4137338595" sldId="383"/>
            <ac:spMk id="6" creationId="{D5AE62BF-777C-B1B1-DEED-286E2FF612F8}"/>
          </ac:spMkLst>
        </pc:spChg>
        <pc:spChg chg="mod">
          <ac:chgData name="Koen Verbeeck" userId="24d0e79a7fd977da" providerId="LiveId" clId="{2915C232-C127-43C9-B354-7AEAA8B11E4E}" dt="2024-03-17T15:10:41.507" v="2093" actId="1036"/>
          <ac:spMkLst>
            <pc:docMk/>
            <pc:sldMk cId="4137338595" sldId="383"/>
            <ac:spMk id="7" creationId="{E42702DF-EE9F-1988-3458-B0195071820C}"/>
          </ac:spMkLst>
        </pc:spChg>
        <pc:picChg chg="mod">
          <ac:chgData name="Koen Verbeeck" userId="24d0e79a7fd977da" providerId="LiveId" clId="{2915C232-C127-43C9-B354-7AEAA8B11E4E}" dt="2024-03-17T15:10:41.507" v="2093" actId="1036"/>
          <ac:picMkLst>
            <pc:docMk/>
            <pc:sldMk cId="4137338595" sldId="383"/>
            <ac:picMk id="4" creationId="{E2B17515-57BD-2EEA-21F2-5FF4FC5FC848}"/>
          </ac:picMkLst>
        </pc:picChg>
        <pc:cxnChg chg="mod">
          <ac:chgData name="Koen Verbeeck" userId="24d0e79a7fd977da" providerId="LiveId" clId="{2915C232-C127-43C9-B354-7AEAA8B11E4E}" dt="2024-03-17T15:10:41.507" v="2093" actId="1036"/>
          <ac:cxnSpMkLst>
            <pc:docMk/>
            <pc:sldMk cId="4137338595" sldId="383"/>
            <ac:cxnSpMk id="5" creationId="{3EEA4157-0914-CF43-360C-BF07D884960B}"/>
          </ac:cxnSpMkLst>
        </pc:cxnChg>
      </pc:sldChg>
      <pc:sldChg chg="addSp delSp modSp mod ord modTransition modClrScheme chgLayout modNotesTx">
        <pc:chgData name="Koen Verbeeck" userId="24d0e79a7fd977da" providerId="LiveId" clId="{2915C232-C127-43C9-B354-7AEAA8B11E4E}" dt="2024-03-31T20:11:13.741" v="6615"/>
        <pc:sldMkLst>
          <pc:docMk/>
          <pc:sldMk cId="3964894102" sldId="384"/>
        </pc:sldMkLst>
        <pc:spChg chg="add del mod ord">
          <ac:chgData name="Koen Verbeeck" userId="24d0e79a7fd977da" providerId="LiveId" clId="{2915C232-C127-43C9-B354-7AEAA8B11E4E}" dt="2024-03-17T13:26:41.710" v="174" actId="700"/>
          <ac:spMkLst>
            <pc:docMk/>
            <pc:sldMk cId="3964894102" sldId="384"/>
            <ac:spMk id="2" creationId="{CAAF60EC-7342-7451-AF40-2FBEAB42A86B}"/>
          </ac:spMkLst>
        </pc:spChg>
        <pc:spChg chg="add mod">
          <ac:chgData name="Koen Verbeeck" userId="24d0e79a7fd977da" providerId="LiveId" clId="{2915C232-C127-43C9-B354-7AEAA8B11E4E}" dt="2024-03-17T14:11:20.659" v="1338" actId="20577"/>
          <ac:spMkLst>
            <pc:docMk/>
            <pc:sldMk cId="3964894102" sldId="384"/>
            <ac:spMk id="3" creationId="{C59C1DD1-BE69-18BA-56C8-DF976FABE330}"/>
          </ac:spMkLst>
        </pc:spChg>
        <pc:spChg chg="mod ord">
          <ac:chgData name="Koen Verbeeck" userId="24d0e79a7fd977da" providerId="LiveId" clId="{2915C232-C127-43C9-B354-7AEAA8B11E4E}" dt="2024-03-17T13:31:22.106" v="330" actId="20577"/>
          <ac:spMkLst>
            <pc:docMk/>
            <pc:sldMk cId="3964894102" sldId="384"/>
            <ac:spMk id="13" creationId="{0A925C7F-DC41-244E-985A-B5DACDDC487B}"/>
          </ac:spMkLst>
        </pc:spChg>
      </pc:sldChg>
      <pc:sldChg chg="modSp add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3909643325" sldId="385"/>
        </pc:sldMkLst>
        <pc:spChg chg="mod ord">
          <ac:chgData name="Koen Verbeeck" userId="24d0e79a7fd977da" providerId="LiveId" clId="{2915C232-C127-43C9-B354-7AEAA8B11E4E}" dt="2024-03-17T15:10:12.247" v="2077" actId="700"/>
          <ac:spMkLst>
            <pc:docMk/>
            <pc:sldMk cId="3909643325" sldId="385"/>
            <ac:spMk id="3" creationId="{719EA46B-5D6C-4A93-AA53-C2C22BA17BDA}"/>
          </ac:spMkLst>
        </pc:spChg>
      </pc:sldChg>
      <pc:sldChg chg="addSp delSp modSp mod modTransition modAnim">
        <pc:chgData name="Koen Verbeeck" userId="24d0e79a7fd977da" providerId="LiveId" clId="{2915C232-C127-43C9-B354-7AEAA8B11E4E}" dt="2024-03-31T20:11:13.741" v="6615"/>
        <pc:sldMkLst>
          <pc:docMk/>
          <pc:sldMk cId="3677851476" sldId="393"/>
        </pc:sldMkLst>
        <pc:spChg chg="add mod">
          <ac:chgData name="Koen Verbeeck" userId="24d0e79a7fd977da" providerId="LiveId" clId="{2915C232-C127-43C9-B354-7AEAA8B11E4E}" dt="2024-03-17T13:23:40.617" v="154" actId="27636"/>
          <ac:spMkLst>
            <pc:docMk/>
            <pc:sldMk cId="3677851476" sldId="393"/>
            <ac:spMk id="2" creationId="{AD3E147C-1ED1-6A1F-BD7C-1DE5E47224A1}"/>
          </ac:spMkLst>
        </pc:spChg>
        <pc:spChg chg="mod">
          <ac:chgData name="Koen Verbeeck" userId="24d0e79a7fd977da" providerId="LiveId" clId="{2915C232-C127-43C9-B354-7AEAA8B11E4E}" dt="2024-03-17T13:22:50.005" v="5" actId="14100"/>
          <ac:spMkLst>
            <pc:docMk/>
            <pc:sldMk cId="3677851476" sldId="393"/>
            <ac:spMk id="7" creationId="{AD84C2D4-A9B0-9462-48D9-81618A5E29D8}"/>
          </ac:spMkLst>
        </pc:spChg>
        <pc:spChg chg="mod">
          <ac:chgData name="Koen Verbeeck" userId="24d0e79a7fd977da" providerId="LiveId" clId="{2915C232-C127-43C9-B354-7AEAA8B11E4E}" dt="2024-03-17T13:23:18.215" v="110" actId="1036"/>
          <ac:spMkLst>
            <pc:docMk/>
            <pc:sldMk cId="3677851476" sldId="393"/>
            <ac:spMk id="8" creationId="{E47470EA-B5C1-BAB4-F649-B9DC54E64973}"/>
          </ac:spMkLst>
        </pc:spChg>
        <pc:picChg chg="del">
          <ac:chgData name="Koen Verbeeck" userId="24d0e79a7fd977da" providerId="LiveId" clId="{2915C232-C127-43C9-B354-7AEAA8B11E4E}" dt="2024-03-17T13:22:58.821" v="31" actId="478"/>
          <ac:picMkLst>
            <pc:docMk/>
            <pc:sldMk cId="3677851476" sldId="393"/>
            <ac:picMk id="6" creationId="{63002B25-EE80-03D1-3586-EBE5A5E66014}"/>
          </ac:picMkLst>
        </pc:picChg>
      </pc:sldChg>
      <pc:sldChg chg="modTransition">
        <pc:chgData name="Koen Verbeeck" userId="24d0e79a7fd977da" providerId="LiveId" clId="{2915C232-C127-43C9-B354-7AEAA8B11E4E}" dt="2024-03-31T20:11:13.741" v="6615"/>
        <pc:sldMkLst>
          <pc:docMk/>
          <pc:sldMk cId="860859307" sldId="394"/>
        </pc:sldMkLst>
      </pc:sldChg>
      <pc:sldChg chg="modTransition">
        <pc:chgData name="Koen Verbeeck" userId="24d0e79a7fd977da" providerId="LiveId" clId="{2915C232-C127-43C9-B354-7AEAA8B11E4E}" dt="2024-03-31T20:11:13.741" v="6615"/>
        <pc:sldMkLst>
          <pc:docMk/>
          <pc:sldMk cId="1395989392" sldId="403"/>
        </pc:sldMkLst>
      </pc:sldChg>
      <pc:sldChg chg="delSp modSp add mod modTransition modClrScheme modShow chgLayout">
        <pc:chgData name="Koen Verbeeck" userId="24d0e79a7fd977da" providerId="LiveId" clId="{2915C232-C127-43C9-B354-7AEAA8B11E4E}" dt="2024-03-31T20:11:13.741" v="6615"/>
        <pc:sldMkLst>
          <pc:docMk/>
          <pc:sldMk cId="3199220616" sldId="404"/>
        </pc:sldMkLst>
        <pc:spChg chg="del">
          <ac:chgData name="Koen Verbeeck" userId="24d0e79a7fd977da" providerId="LiveId" clId="{2915C232-C127-43C9-B354-7AEAA8B11E4E}" dt="2024-03-17T15:10:12.247" v="2077" actId="700"/>
          <ac:spMkLst>
            <pc:docMk/>
            <pc:sldMk cId="3199220616" sldId="404"/>
            <ac:spMk id="2" creationId="{773147B3-5414-55BA-D9BE-E27BF1840A56}"/>
          </ac:spMkLst>
        </pc:spChg>
        <pc:spChg chg="mod ord">
          <ac:chgData name="Koen Verbeeck" userId="24d0e79a7fd977da" providerId="LiveId" clId="{2915C232-C127-43C9-B354-7AEAA8B11E4E}" dt="2024-03-17T15:10:12.247" v="2077" actId="700"/>
          <ac:spMkLst>
            <pc:docMk/>
            <pc:sldMk cId="3199220616" sldId="404"/>
            <ac:spMk id="3" creationId="{4AE1C2F0-6866-4384-C10C-534A7F5984D7}"/>
          </ac:spMkLst>
        </pc:spChg>
      </pc:sldChg>
      <pc:sldChg chg="modSp add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3521530753" sldId="406"/>
        </pc:sldMkLst>
        <pc:spChg chg="mod ord">
          <ac:chgData name="Koen Verbeeck" userId="24d0e79a7fd977da" providerId="LiveId" clId="{2915C232-C127-43C9-B354-7AEAA8B11E4E}" dt="2024-03-17T15:10:12.271" v="2078" actId="27636"/>
          <ac:spMkLst>
            <pc:docMk/>
            <pc:sldMk cId="3521530753" sldId="406"/>
            <ac:spMk id="3" creationId="{D4D4E6E3-DCC9-C9F2-545F-4B2392BB73FD}"/>
          </ac:spMkLst>
        </pc:spChg>
      </pc:sldChg>
      <pc:sldChg chg="del">
        <pc:chgData name="Koen Verbeeck" userId="24d0e79a7fd977da" providerId="LiveId" clId="{2915C232-C127-43C9-B354-7AEAA8B11E4E}" dt="2024-03-25T13:58:17.519" v="6153" actId="47"/>
        <pc:sldMkLst>
          <pc:docMk/>
          <pc:sldMk cId="726080506" sldId="407"/>
        </pc:sldMkLst>
      </pc:sldChg>
      <pc:sldChg chg="modSp add mod modTransition modClrScheme modAnim chgLayout">
        <pc:chgData name="Koen Verbeeck" userId="24d0e79a7fd977da" providerId="LiveId" clId="{2915C232-C127-43C9-B354-7AEAA8B11E4E}" dt="2024-03-31T20:24:38.361" v="6724"/>
        <pc:sldMkLst>
          <pc:docMk/>
          <pc:sldMk cId="37014169" sldId="409"/>
        </pc:sldMkLst>
        <pc:spChg chg="mod ord">
          <ac:chgData name="Koen Verbeeck" userId="24d0e79a7fd977da" providerId="LiveId" clId="{2915C232-C127-43C9-B354-7AEAA8B11E4E}" dt="2024-03-17T15:17:39.113" v="2229" actId="113"/>
          <ac:spMkLst>
            <pc:docMk/>
            <pc:sldMk cId="37014169" sldId="409"/>
            <ac:spMk id="2" creationId="{D193A07E-C9F1-F989-DEA2-18BA91227E59}"/>
          </ac:spMkLst>
        </pc:spChg>
        <pc:spChg chg="mod ord">
          <ac:chgData name="Koen Verbeeck" userId="24d0e79a7fd977da" providerId="LiveId" clId="{2915C232-C127-43C9-B354-7AEAA8B11E4E}" dt="2024-03-17T15:14:04.121" v="2192" actId="700"/>
          <ac:spMkLst>
            <pc:docMk/>
            <pc:sldMk cId="37014169" sldId="409"/>
            <ac:spMk id="3" creationId="{92337E40-4DCE-8F2C-0218-C39A7B0AD1A4}"/>
          </ac:spMkLst>
        </pc:spChg>
      </pc:sldChg>
      <pc:sldChg chg="delSp modSp add mod modTransition delAnim">
        <pc:chgData name="Koen Verbeeck" userId="24d0e79a7fd977da" providerId="LiveId" clId="{2915C232-C127-43C9-B354-7AEAA8B11E4E}" dt="2024-03-31T20:24:46.606" v="6726" actId="1076"/>
        <pc:sldMkLst>
          <pc:docMk/>
          <pc:sldMk cId="1306296076" sldId="410"/>
        </pc:sldMkLst>
        <pc:spChg chg="mod">
          <ac:chgData name="Koen Verbeeck" userId="24d0e79a7fd977da" providerId="LiveId" clId="{2915C232-C127-43C9-B354-7AEAA8B11E4E}" dt="2024-03-31T20:24:46.606" v="6726" actId="1076"/>
          <ac:spMkLst>
            <pc:docMk/>
            <pc:sldMk cId="1306296076" sldId="410"/>
            <ac:spMk id="6" creationId="{999913E4-1DA9-4951-AC8B-30E4F15AD934}"/>
          </ac:spMkLst>
        </pc:spChg>
        <pc:spChg chg="del">
          <ac:chgData name="Koen Verbeeck" userId="24d0e79a7fd977da" providerId="LiveId" clId="{2915C232-C127-43C9-B354-7AEAA8B11E4E}" dt="2024-03-17T15:15:41.196" v="2221" actId="478"/>
          <ac:spMkLst>
            <pc:docMk/>
            <pc:sldMk cId="1306296076" sldId="410"/>
            <ac:spMk id="7" creationId="{8E62B69E-FBCC-2EF7-9829-299F91808D15}"/>
          </ac:spMkLst>
        </pc:spChg>
        <pc:picChg chg="mod">
          <ac:chgData name="Koen Verbeeck" userId="24d0e79a7fd977da" providerId="LiveId" clId="{2915C232-C127-43C9-B354-7AEAA8B11E4E}" dt="2024-03-31T20:24:46.606" v="6726" actId="1076"/>
          <ac:picMkLst>
            <pc:docMk/>
            <pc:sldMk cId="1306296076" sldId="410"/>
            <ac:picMk id="5" creationId="{95699167-48E6-637A-4C04-A104B455637D}"/>
          </ac:picMkLst>
        </pc:picChg>
        <pc:picChg chg="del">
          <ac:chgData name="Koen Verbeeck" userId="24d0e79a7fd977da" providerId="LiveId" clId="{2915C232-C127-43C9-B354-7AEAA8B11E4E}" dt="2024-03-17T15:15:39.793" v="2220" actId="478"/>
          <ac:picMkLst>
            <pc:docMk/>
            <pc:sldMk cId="1306296076" sldId="410"/>
            <ac:picMk id="3074" creationId="{3FC31284-D492-510E-825A-85696CD3B687}"/>
          </ac:picMkLst>
        </pc:picChg>
      </pc:sldChg>
      <pc:sldChg chg="del">
        <pc:chgData name="Koen Verbeeck" userId="24d0e79a7fd977da" providerId="LiveId" clId="{2915C232-C127-43C9-B354-7AEAA8B11E4E}" dt="2024-03-17T13:39:21.096" v="738" actId="47"/>
        <pc:sldMkLst>
          <pc:docMk/>
          <pc:sldMk cId="2746377707" sldId="411"/>
        </pc:sldMkLst>
      </pc:sldChg>
      <pc:sldChg chg="del">
        <pc:chgData name="Koen Verbeeck" userId="24d0e79a7fd977da" providerId="LiveId" clId="{2915C232-C127-43C9-B354-7AEAA8B11E4E}" dt="2024-03-17T13:41:42.098" v="781" actId="47"/>
        <pc:sldMkLst>
          <pc:docMk/>
          <pc:sldMk cId="2890134233" sldId="412"/>
        </pc:sldMkLst>
      </pc:sldChg>
      <pc:sldChg chg="del">
        <pc:chgData name="Koen Verbeeck" userId="24d0e79a7fd977da" providerId="LiveId" clId="{2915C232-C127-43C9-B354-7AEAA8B11E4E}" dt="2024-03-17T14:41:35.206" v="1621" actId="47"/>
        <pc:sldMkLst>
          <pc:docMk/>
          <pc:sldMk cId="1414474084" sldId="413"/>
        </pc:sldMkLst>
      </pc:sldChg>
      <pc:sldChg chg="del">
        <pc:chgData name="Koen Verbeeck" userId="24d0e79a7fd977da" providerId="LiveId" clId="{2915C232-C127-43C9-B354-7AEAA8B11E4E}" dt="2024-03-17T14:41:35.789" v="1622" actId="47"/>
        <pc:sldMkLst>
          <pc:docMk/>
          <pc:sldMk cId="569114978" sldId="415"/>
        </pc:sldMkLst>
      </pc:sldChg>
      <pc:sldChg chg="del">
        <pc:chgData name="Koen Verbeeck" userId="24d0e79a7fd977da" providerId="LiveId" clId="{2915C232-C127-43C9-B354-7AEAA8B11E4E}" dt="2024-03-17T14:41:36.235" v="1623" actId="47"/>
        <pc:sldMkLst>
          <pc:docMk/>
          <pc:sldMk cId="3477104516" sldId="416"/>
        </pc:sldMkLst>
      </pc:sldChg>
      <pc:sldChg chg="modSp mod modTransition">
        <pc:chgData name="Koen Verbeeck" userId="24d0e79a7fd977da" providerId="LiveId" clId="{2915C232-C127-43C9-B354-7AEAA8B11E4E}" dt="2024-03-31T20:11:13.741" v="6615"/>
        <pc:sldMkLst>
          <pc:docMk/>
          <pc:sldMk cId="957152188" sldId="417"/>
        </pc:sldMkLst>
        <pc:spChg chg="mod">
          <ac:chgData name="Koen Verbeeck" userId="24d0e79a7fd977da" providerId="LiveId" clId="{2915C232-C127-43C9-B354-7AEAA8B11E4E}" dt="2024-03-17T15:15:03.147" v="2219" actId="20577"/>
          <ac:spMkLst>
            <pc:docMk/>
            <pc:sldMk cId="957152188" sldId="417"/>
            <ac:spMk id="3" creationId="{3D26A323-ADFE-A02B-E06E-9E5FC358A01F}"/>
          </ac:spMkLst>
        </pc:spChg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2163747910" sldId="418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96455330" sldId="419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465715272" sldId="420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4044134213" sldId="421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3429298847" sldId="422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3996753742" sldId="42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803783974" sldId="424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1900616416" sldId="425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112673607" sldId="42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159298203" sldId="427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922521532" sldId="428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573432886" sldId="42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171969775" sldId="43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160934701" sldId="431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1170743350" sldId="432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2187368037" sldId="433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1977894409" sldId="434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3655917864" sldId="435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3061463071" sldId="437"/>
        </pc:sldMkLst>
      </pc:sldChg>
      <pc:sldChg chg="del">
        <pc:chgData name="Koen Verbeeck" userId="24d0e79a7fd977da" providerId="LiveId" clId="{2915C232-C127-43C9-B354-7AEAA8B11E4E}" dt="2024-03-25T13:50:26.244" v="5719" actId="47"/>
        <pc:sldMkLst>
          <pc:docMk/>
          <pc:sldMk cId="4211441043" sldId="438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273325707" sldId="43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656499946" sldId="44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412883882" sldId="214747913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668452944" sldId="2147479138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981195702" sldId="214747913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888553981" sldId="214747914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865179154" sldId="2147479142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714118142" sldId="214747914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012303893" sldId="2147479144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923361657" sldId="2147479145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51177050" sldId="214747914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737642826" sldId="2147479147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695156761" sldId="2147479148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619643768" sldId="214747914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065758277" sldId="214747915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542054416" sldId="2147479151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442810152" sldId="2147479152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956618553" sldId="214747915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479142523" sldId="2147479154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041100848" sldId="2147479155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644149466" sldId="214747915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682381876" sldId="2147479157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983717636" sldId="214747915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287086493" sldId="214747916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451764680" sldId="2147479161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218536291" sldId="2147479162"/>
        </pc:sldMkLst>
      </pc:sldChg>
      <pc:sldChg chg="del">
        <pc:chgData name="Koen Verbeeck" userId="24d0e79a7fd977da" providerId="LiveId" clId="{2915C232-C127-43C9-B354-7AEAA8B11E4E}" dt="2024-03-25T13:57:31.287" v="6149" actId="47"/>
        <pc:sldMkLst>
          <pc:docMk/>
          <pc:sldMk cId="3885224101" sldId="214747916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471977688" sldId="214747916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955949538" sldId="2147479167"/>
        </pc:sldMkLst>
      </pc:sldChg>
      <pc:sldChg chg="del">
        <pc:chgData name="Koen Verbeeck" userId="24d0e79a7fd977da" providerId="LiveId" clId="{2915C232-C127-43C9-B354-7AEAA8B11E4E}" dt="2024-03-25T13:58:06.613" v="6150" actId="47"/>
        <pc:sldMkLst>
          <pc:docMk/>
          <pc:sldMk cId="1585218437" sldId="2147479168"/>
        </pc:sldMkLst>
      </pc:sldChg>
      <pc:sldChg chg="del">
        <pc:chgData name="Koen Verbeeck" userId="24d0e79a7fd977da" providerId="LiveId" clId="{2915C232-C127-43C9-B354-7AEAA8B11E4E}" dt="2024-03-25T13:57:31.287" v="6149" actId="47"/>
        <pc:sldMkLst>
          <pc:docMk/>
          <pc:sldMk cId="38405499" sldId="214747916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485214994" sldId="214747917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4093320302" sldId="2147479172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864387825" sldId="214747917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179187347" sldId="2147479174"/>
        </pc:sldMkLst>
      </pc:sldChg>
      <pc:sldChg chg="del">
        <pc:chgData name="Koen Verbeeck" userId="24d0e79a7fd977da" providerId="LiveId" clId="{2915C232-C127-43C9-B354-7AEAA8B11E4E}" dt="2024-03-17T14:59:02.432" v="1796" actId="47"/>
        <pc:sldMkLst>
          <pc:docMk/>
          <pc:sldMk cId="1943900276" sldId="2147479175"/>
        </pc:sldMkLst>
      </pc:sldChg>
      <pc:sldChg chg="addSp modSp new mod ord modTransition modNotesTx">
        <pc:chgData name="Koen Verbeeck" userId="24d0e79a7fd977da" providerId="LiveId" clId="{2915C232-C127-43C9-B354-7AEAA8B11E4E}" dt="2024-03-31T20:11:13.741" v="6615"/>
        <pc:sldMkLst>
          <pc:docMk/>
          <pc:sldMk cId="787299153" sldId="2147479176"/>
        </pc:sldMkLst>
        <pc:spChg chg="mod">
          <ac:chgData name="Koen Verbeeck" userId="24d0e79a7fd977da" providerId="LiveId" clId="{2915C232-C127-43C9-B354-7AEAA8B11E4E}" dt="2024-03-17T14:11:26.776" v="1340"/>
          <ac:spMkLst>
            <pc:docMk/>
            <pc:sldMk cId="787299153" sldId="2147479176"/>
            <ac:spMk id="2" creationId="{E374FAD5-410E-8C80-3E66-914B371D07A2}"/>
          </ac:spMkLst>
        </pc:spChg>
        <pc:picChg chg="add mod">
          <ac:chgData name="Koen Verbeeck" userId="24d0e79a7fd977da" providerId="LiveId" clId="{2915C232-C127-43C9-B354-7AEAA8B11E4E}" dt="2024-03-17T13:29:16.243" v="217" actId="1076"/>
          <ac:picMkLst>
            <pc:docMk/>
            <pc:sldMk cId="787299153" sldId="2147479176"/>
            <ac:picMk id="3" creationId="{F47A08A8-3450-CA1D-09BB-4658FCDA5DFB}"/>
          </ac:picMkLst>
        </pc:picChg>
      </pc:sldChg>
      <pc:sldChg chg="addSp delSp modSp add mod modTransition modNotesTx">
        <pc:chgData name="Koen Verbeeck" userId="24d0e79a7fd977da" providerId="LiveId" clId="{2915C232-C127-43C9-B354-7AEAA8B11E4E}" dt="2024-03-31T20:11:13.741" v="6615"/>
        <pc:sldMkLst>
          <pc:docMk/>
          <pc:sldMk cId="2260289620" sldId="2147479177"/>
        </pc:sldMkLst>
        <pc:spChg chg="mod">
          <ac:chgData name="Koen Verbeeck" userId="24d0e79a7fd977da" providerId="LiveId" clId="{2915C232-C127-43C9-B354-7AEAA8B11E4E}" dt="2024-03-17T14:11:24.543" v="1339"/>
          <ac:spMkLst>
            <pc:docMk/>
            <pc:sldMk cId="2260289620" sldId="2147479177"/>
            <ac:spMk id="2" creationId="{E374FAD5-410E-8C80-3E66-914B371D07A2}"/>
          </ac:spMkLst>
        </pc:spChg>
        <pc:picChg chg="del">
          <ac:chgData name="Koen Verbeeck" userId="24d0e79a7fd977da" providerId="LiveId" clId="{2915C232-C127-43C9-B354-7AEAA8B11E4E}" dt="2024-03-17T13:29:21.696" v="219" actId="478"/>
          <ac:picMkLst>
            <pc:docMk/>
            <pc:sldMk cId="2260289620" sldId="2147479177"/>
            <ac:picMk id="3" creationId="{F47A08A8-3450-CA1D-09BB-4658FCDA5DFB}"/>
          </ac:picMkLst>
        </pc:picChg>
        <pc:picChg chg="add mod">
          <ac:chgData name="Koen Verbeeck" userId="24d0e79a7fd977da" providerId="LiveId" clId="{2915C232-C127-43C9-B354-7AEAA8B11E4E}" dt="2024-03-17T13:29:54.302" v="256" actId="1035"/>
          <ac:picMkLst>
            <pc:docMk/>
            <pc:sldMk cId="2260289620" sldId="2147479177"/>
            <ac:picMk id="4" creationId="{6C1FDCF8-A875-D234-AFE0-87CDA8768201}"/>
          </ac:picMkLst>
        </pc:picChg>
      </pc:sldChg>
      <pc:sldChg chg="addSp delSp modSp add del mod modTransition modClrScheme modAnim chgLayout">
        <pc:chgData name="Koen Verbeeck" userId="24d0e79a7fd977da" providerId="LiveId" clId="{2915C232-C127-43C9-B354-7AEAA8B11E4E}" dt="2024-03-31T20:23:18.522" v="6720" actId="47"/>
        <pc:sldMkLst>
          <pc:docMk/>
          <pc:sldMk cId="3561946216" sldId="2147479178"/>
        </pc:sldMkLst>
        <pc:spChg chg="mod ord">
          <ac:chgData name="Koen Verbeeck" userId="24d0e79a7fd977da" providerId="LiveId" clId="{2915C232-C127-43C9-B354-7AEAA8B11E4E}" dt="2024-03-17T14:11:14.142" v="1329" actId="20577"/>
          <ac:spMkLst>
            <pc:docMk/>
            <pc:sldMk cId="3561946216" sldId="2147479178"/>
            <ac:spMk id="2" creationId="{E374FAD5-410E-8C80-3E66-914B371D07A2}"/>
          </ac:spMkLst>
        </pc:spChg>
        <pc:spChg chg="add mod ord">
          <ac:chgData name="Koen Verbeeck" userId="24d0e79a7fd977da" providerId="LiveId" clId="{2915C232-C127-43C9-B354-7AEAA8B11E4E}" dt="2024-03-17T14:12:11.522" v="1388" actId="20577"/>
          <ac:spMkLst>
            <pc:docMk/>
            <pc:sldMk cId="3561946216" sldId="2147479178"/>
            <ac:spMk id="3" creationId="{86C65A37-503F-1914-16B1-30367F6E8DB0}"/>
          </ac:spMkLst>
        </pc:spChg>
        <pc:spChg chg="add del mod">
          <ac:chgData name="Koen Verbeeck" userId="24d0e79a7fd977da" providerId="LiveId" clId="{2915C232-C127-43C9-B354-7AEAA8B11E4E}" dt="2024-03-17T13:31:27.461" v="331" actId="478"/>
          <ac:spMkLst>
            <pc:docMk/>
            <pc:sldMk cId="3561946216" sldId="2147479178"/>
            <ac:spMk id="5" creationId="{15012099-3ED1-A33C-5AAF-A175D4BEDDE3}"/>
          </ac:spMkLst>
        </pc:spChg>
        <pc:picChg chg="del">
          <ac:chgData name="Koen Verbeeck" userId="24d0e79a7fd977da" providerId="LiveId" clId="{2915C232-C127-43C9-B354-7AEAA8B11E4E}" dt="2024-03-17T13:30:15.159" v="258" actId="478"/>
          <ac:picMkLst>
            <pc:docMk/>
            <pc:sldMk cId="3561946216" sldId="2147479178"/>
            <ac:picMk id="4" creationId="{6C1FDCF8-A875-D234-AFE0-87CDA8768201}"/>
          </ac:picMkLst>
        </pc:picChg>
      </pc:sldChg>
      <pc:sldChg chg="modSp add mod ord modTransition">
        <pc:chgData name="Koen Verbeeck" userId="24d0e79a7fd977da" providerId="LiveId" clId="{2915C232-C127-43C9-B354-7AEAA8B11E4E}" dt="2024-03-31T20:11:13.741" v="6615"/>
        <pc:sldMkLst>
          <pc:docMk/>
          <pc:sldMk cId="1604977853" sldId="2147479179"/>
        </pc:sldMkLst>
        <pc:spChg chg="mod">
          <ac:chgData name="Koen Verbeeck" userId="24d0e79a7fd977da" providerId="LiveId" clId="{2915C232-C127-43C9-B354-7AEAA8B11E4E}" dt="2024-03-17T14:11:31.938" v="1341"/>
          <ac:spMkLst>
            <pc:docMk/>
            <pc:sldMk cId="1604977853" sldId="2147479179"/>
            <ac:spMk id="3" creationId="{C59C1DD1-BE69-18BA-56C8-DF976FABE330}"/>
          </ac:spMkLst>
        </pc:spChg>
        <pc:spChg chg="mod">
          <ac:chgData name="Koen Verbeeck" userId="24d0e79a7fd977da" providerId="LiveId" clId="{2915C232-C127-43C9-B354-7AEAA8B11E4E}" dt="2024-03-17T13:39:14.937" v="735" actId="5793"/>
          <ac:spMkLst>
            <pc:docMk/>
            <pc:sldMk cId="1604977853" sldId="2147479179"/>
            <ac:spMk id="13" creationId="{0A925C7F-DC41-244E-985A-B5DACDDC487B}"/>
          </ac:spMkLst>
        </pc:spChg>
      </pc:sldChg>
      <pc:sldChg chg="addSp delSp modSp add mod modTransition modAnim">
        <pc:chgData name="Koen Verbeeck" userId="24d0e79a7fd977da" providerId="LiveId" clId="{2915C232-C127-43C9-B354-7AEAA8B11E4E}" dt="2024-03-31T20:11:13.741" v="6615"/>
        <pc:sldMkLst>
          <pc:docMk/>
          <pc:sldMk cId="3398869796" sldId="2147479180"/>
        </pc:sldMkLst>
        <pc:spChg chg="mod">
          <ac:chgData name="Koen Verbeeck" userId="24d0e79a7fd977da" providerId="LiveId" clId="{2915C232-C127-43C9-B354-7AEAA8B11E4E}" dt="2024-03-17T13:39:43.416" v="773" actId="20577"/>
          <ac:spMkLst>
            <pc:docMk/>
            <pc:sldMk cId="3398869796" sldId="2147479180"/>
            <ac:spMk id="3" creationId="{C59C1DD1-BE69-18BA-56C8-DF976FABE330}"/>
          </ac:spMkLst>
        </pc:spChg>
        <pc:spChg chg="add del mod">
          <ac:chgData name="Koen Verbeeck" userId="24d0e79a7fd977da" providerId="LiveId" clId="{2915C232-C127-43C9-B354-7AEAA8B11E4E}" dt="2024-03-17T13:41:26.889" v="775" actId="931"/>
          <ac:spMkLst>
            <pc:docMk/>
            <pc:sldMk cId="3398869796" sldId="2147479180"/>
            <ac:spMk id="4" creationId="{7BC0D91E-9EAF-771B-F207-BE2A22C8A7A7}"/>
          </ac:spMkLst>
        </pc:spChg>
        <pc:spChg chg="del">
          <ac:chgData name="Koen Verbeeck" userId="24d0e79a7fd977da" providerId="LiveId" clId="{2915C232-C127-43C9-B354-7AEAA8B11E4E}" dt="2024-03-17T13:39:46.586" v="774" actId="478"/>
          <ac:spMkLst>
            <pc:docMk/>
            <pc:sldMk cId="3398869796" sldId="2147479180"/>
            <ac:spMk id="13" creationId="{0A925C7F-DC41-244E-985A-B5DACDDC487B}"/>
          </ac:spMkLst>
        </pc:spChg>
        <pc:picChg chg="add mod">
          <ac:chgData name="Koen Verbeeck" userId="24d0e79a7fd977da" providerId="LiveId" clId="{2915C232-C127-43C9-B354-7AEAA8B11E4E}" dt="2024-03-17T13:41:32.600" v="779" actId="1076"/>
          <ac:picMkLst>
            <pc:docMk/>
            <pc:sldMk cId="3398869796" sldId="2147479180"/>
            <ac:picMk id="6" creationId="{CD511024-C763-51D3-2DE7-FF46F3A72A15}"/>
          </ac:picMkLst>
        </pc:picChg>
      </pc:sldChg>
      <pc:sldChg chg="modSp add mod ord modTransition">
        <pc:chgData name="Koen Verbeeck" userId="24d0e79a7fd977da" providerId="LiveId" clId="{2915C232-C127-43C9-B354-7AEAA8B11E4E}" dt="2024-03-31T20:11:13.741" v="6615"/>
        <pc:sldMkLst>
          <pc:docMk/>
          <pc:sldMk cId="806165236" sldId="2147479181"/>
        </pc:sldMkLst>
        <pc:spChg chg="mod">
          <ac:chgData name="Koen Verbeeck" userId="24d0e79a7fd977da" providerId="LiveId" clId="{2915C232-C127-43C9-B354-7AEAA8B11E4E}" dt="2024-03-17T14:11:35.859" v="1342"/>
          <ac:spMkLst>
            <pc:docMk/>
            <pc:sldMk cId="806165236" sldId="2147479181"/>
            <ac:spMk id="3" creationId="{C59C1DD1-BE69-18BA-56C8-DF976FABE330}"/>
          </ac:spMkLst>
        </pc:spChg>
        <pc:spChg chg="mod">
          <ac:chgData name="Koen Verbeeck" userId="24d0e79a7fd977da" providerId="LiveId" clId="{2915C232-C127-43C9-B354-7AEAA8B11E4E}" dt="2024-03-17T13:44:27.114" v="983" actId="20577"/>
          <ac:spMkLst>
            <pc:docMk/>
            <pc:sldMk cId="806165236" sldId="2147479181"/>
            <ac:spMk id="13" creationId="{0A925C7F-DC41-244E-985A-B5DACDDC487B}"/>
          </ac:spMkLst>
        </pc:spChg>
      </pc:sldChg>
      <pc:sldChg chg="modSp new del mod">
        <pc:chgData name="Koen Verbeeck" userId="24d0e79a7fd977da" providerId="LiveId" clId="{2915C232-C127-43C9-B354-7AEAA8B11E4E}" dt="2024-03-17T14:44:46.338" v="1742" actId="47"/>
        <pc:sldMkLst>
          <pc:docMk/>
          <pc:sldMk cId="4275261101" sldId="2147479182"/>
        </pc:sldMkLst>
        <pc:spChg chg="mod">
          <ac:chgData name="Koen Verbeeck" userId="24d0e79a7fd977da" providerId="LiveId" clId="{2915C232-C127-43C9-B354-7AEAA8B11E4E}" dt="2024-03-17T13:50:24.201" v="1067" actId="20577"/>
          <ac:spMkLst>
            <pc:docMk/>
            <pc:sldMk cId="4275261101" sldId="2147479182"/>
            <ac:spMk id="2" creationId="{7D1BEA26-AC45-44A7-C24E-7841A960D0DC}"/>
          </ac:spMkLst>
        </pc:spChg>
        <pc:spChg chg="mod">
          <ac:chgData name="Koen Verbeeck" userId="24d0e79a7fd977da" providerId="LiveId" clId="{2915C232-C127-43C9-B354-7AEAA8B11E4E}" dt="2024-03-17T13:47:27.139" v="990" actId="20577"/>
          <ac:spMkLst>
            <pc:docMk/>
            <pc:sldMk cId="4275261101" sldId="2147479182"/>
            <ac:spMk id="3" creationId="{6A6D4ADC-0ECE-8D81-4587-6DD287C356D8}"/>
          </ac:spMkLst>
        </pc:spChg>
      </pc:sldChg>
      <pc:sldChg chg="addSp delSp modSp new del mod">
        <pc:chgData name="Koen Verbeeck" userId="24d0e79a7fd977da" providerId="LiveId" clId="{2915C232-C127-43C9-B354-7AEAA8B11E4E}" dt="2024-03-17T14:41:33.114" v="1620" actId="47"/>
        <pc:sldMkLst>
          <pc:docMk/>
          <pc:sldMk cId="3304636689" sldId="2147479183"/>
        </pc:sldMkLst>
        <pc:spChg chg="del">
          <ac:chgData name="Koen Verbeeck" userId="24d0e79a7fd977da" providerId="LiveId" clId="{2915C232-C127-43C9-B354-7AEAA8B11E4E}" dt="2024-03-17T13:54:06.260" v="1083" actId="478"/>
          <ac:spMkLst>
            <pc:docMk/>
            <pc:sldMk cId="3304636689" sldId="2147479183"/>
            <ac:spMk id="2" creationId="{8649A0B7-050C-EC87-D204-C88338A37E6D}"/>
          </ac:spMkLst>
        </pc:spChg>
        <pc:spChg chg="mod">
          <ac:chgData name="Koen Verbeeck" userId="24d0e79a7fd977da" providerId="LiveId" clId="{2915C232-C127-43C9-B354-7AEAA8B11E4E}" dt="2024-03-17T13:54:02.655" v="1082" actId="20577"/>
          <ac:spMkLst>
            <pc:docMk/>
            <pc:sldMk cId="3304636689" sldId="2147479183"/>
            <ac:spMk id="3" creationId="{1E075EE1-8D41-1038-BC09-F5B3F681C1E1}"/>
          </ac:spMkLst>
        </pc:spChg>
        <pc:spChg chg="add mod">
          <ac:chgData name="Koen Verbeeck" userId="24d0e79a7fd977da" providerId="LiveId" clId="{2915C232-C127-43C9-B354-7AEAA8B11E4E}" dt="2024-03-17T14:01:04.491" v="1186" actId="1036"/>
          <ac:spMkLst>
            <pc:docMk/>
            <pc:sldMk cId="3304636689" sldId="2147479183"/>
            <ac:spMk id="28" creationId="{D57FF5F4-ECCC-E3AA-5459-30F736AF4972}"/>
          </ac:spMkLst>
        </pc:sp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5" creationId="{BF4245A9-052B-C41A-C3EB-50935B479C92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10" creationId="{55F9203D-F287-A35D-CE6F-CA36CBEC53FC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11" creationId="{5BC9A5B0-267D-8EC8-2458-21C38B6AE267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17" creationId="{21BB44C2-98FD-D64B-A343-DE2D26117D64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21" creationId="{D6785EC5-44B3-624C-1FE5-CE656B234631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1026" creationId="{596DA332-921A-5003-62BF-2D23B5D917D4}"/>
          </ac:picMkLst>
        </pc:picChg>
        <pc:cxnChg chg="add del mod">
          <ac:chgData name="Koen Verbeeck" userId="24d0e79a7fd977da" providerId="LiveId" clId="{2915C232-C127-43C9-B354-7AEAA8B11E4E}" dt="2024-03-17T13:55:14.821" v="1089" actId="478"/>
          <ac:cxnSpMkLst>
            <pc:docMk/>
            <pc:sldMk cId="3304636689" sldId="2147479183"/>
            <ac:cxnSpMk id="6" creationId="{A5D04B85-DD82-D1E0-7E52-E09F18F3FAF0}"/>
          </ac:cxnSpMkLst>
        </pc:cxnChg>
        <pc:cxnChg chg="add mod">
          <ac:chgData name="Koen Verbeeck" userId="24d0e79a7fd977da" providerId="LiveId" clId="{2915C232-C127-43C9-B354-7AEAA8B11E4E}" dt="2024-03-17T14:01:04.491" v="1186" actId="1036"/>
          <ac:cxnSpMkLst>
            <pc:docMk/>
            <pc:sldMk cId="3304636689" sldId="2147479183"/>
            <ac:cxnSpMk id="7" creationId="{71ABC7C7-9E7A-C752-E9CD-44E4E6CF9404}"/>
          </ac:cxnSpMkLst>
        </pc:cxnChg>
        <pc:cxnChg chg="add mod">
          <ac:chgData name="Koen Verbeeck" userId="24d0e79a7fd977da" providerId="LiveId" clId="{2915C232-C127-43C9-B354-7AEAA8B11E4E}" dt="2024-03-17T14:01:04.491" v="1186" actId="1036"/>
          <ac:cxnSpMkLst>
            <pc:docMk/>
            <pc:sldMk cId="3304636689" sldId="2147479183"/>
            <ac:cxnSpMk id="8" creationId="{561A27A1-D999-AE68-0B8E-75A545E05056}"/>
          </ac:cxnSpMkLst>
        </pc:cxnChg>
        <pc:cxnChg chg="add mod">
          <ac:chgData name="Koen Verbeeck" userId="24d0e79a7fd977da" providerId="LiveId" clId="{2915C232-C127-43C9-B354-7AEAA8B11E4E}" dt="2024-03-17T14:01:04.491" v="1186" actId="1036"/>
          <ac:cxnSpMkLst>
            <pc:docMk/>
            <pc:sldMk cId="3304636689" sldId="2147479183"/>
            <ac:cxnSpMk id="22" creationId="{B8402D22-1BC2-EB7B-B0B1-C1F662A516DD}"/>
          </ac:cxnSpMkLst>
        </pc:cxnChg>
      </pc:sldChg>
      <pc:sldChg chg="addSp delSp modSp new mod modTransition">
        <pc:chgData name="Koen Verbeeck" userId="24d0e79a7fd977da" providerId="LiveId" clId="{2915C232-C127-43C9-B354-7AEAA8B11E4E}" dt="2024-03-31T20:11:13.741" v="6615"/>
        <pc:sldMkLst>
          <pc:docMk/>
          <pc:sldMk cId="1152884593" sldId="2147479184"/>
        </pc:sldMkLst>
        <pc:spChg chg="del">
          <ac:chgData name="Koen Verbeeck" userId="24d0e79a7fd977da" providerId="LiveId" clId="{2915C232-C127-43C9-B354-7AEAA8B11E4E}" dt="2024-03-17T14:05:19.412" v="1259" actId="478"/>
          <ac:spMkLst>
            <pc:docMk/>
            <pc:sldMk cId="1152884593" sldId="2147479184"/>
            <ac:spMk id="2" creationId="{C3220E02-CC42-A5FA-8673-C5770006D4B2}"/>
          </ac:spMkLst>
        </pc:spChg>
        <pc:spChg chg="mod">
          <ac:chgData name="Koen Verbeeck" userId="24d0e79a7fd977da" providerId="LiveId" clId="{2915C232-C127-43C9-B354-7AEAA8B11E4E}" dt="2024-03-17T14:03:17.895" v="1215" actId="20577"/>
          <ac:spMkLst>
            <pc:docMk/>
            <pc:sldMk cId="1152884593" sldId="2147479184"/>
            <ac:spMk id="3" creationId="{4EE494F8-00AE-F127-FF0A-08194CCD605E}"/>
          </ac:spMkLst>
        </pc:spChg>
        <pc:spChg chg="add mod">
          <ac:chgData name="Koen Verbeeck" userId="24d0e79a7fd977da" providerId="LiveId" clId="{2915C232-C127-43C9-B354-7AEAA8B11E4E}" dt="2024-03-17T14:03:29.848" v="1219" actId="403"/>
          <ac:spMkLst>
            <pc:docMk/>
            <pc:sldMk cId="1152884593" sldId="2147479184"/>
            <ac:spMk id="5" creationId="{F7BB3856-62D3-5962-E359-4ABBD215CA21}"/>
          </ac:spMkLst>
        </pc:spChg>
        <pc:spChg chg="add mod">
          <ac:chgData name="Koen Verbeeck" userId="24d0e79a7fd977da" providerId="LiveId" clId="{2915C232-C127-43C9-B354-7AEAA8B11E4E}" dt="2024-03-17T14:03:40.596" v="1221" actId="403"/>
          <ac:spMkLst>
            <pc:docMk/>
            <pc:sldMk cId="1152884593" sldId="2147479184"/>
            <ac:spMk id="6" creationId="{4E00AF17-9876-82AB-1918-075C7F65F512}"/>
          </ac:spMkLst>
        </pc:spChg>
        <pc:spChg chg="add mod">
          <ac:chgData name="Koen Verbeeck" userId="24d0e79a7fd977da" providerId="LiveId" clId="{2915C232-C127-43C9-B354-7AEAA8B11E4E}" dt="2024-03-17T14:04:57.661" v="1247" actId="403"/>
          <ac:spMkLst>
            <pc:docMk/>
            <pc:sldMk cId="1152884593" sldId="2147479184"/>
            <ac:spMk id="7" creationId="{F7CA6D37-5A0E-6C1B-C947-7B1530D66106}"/>
          </ac:spMkLst>
        </pc:spChg>
        <pc:spChg chg="add mod">
          <ac:chgData name="Koen Verbeeck" userId="24d0e79a7fd977da" providerId="LiveId" clId="{2915C232-C127-43C9-B354-7AEAA8B11E4E}" dt="2024-03-17T14:03:50.236" v="1227" actId="403"/>
          <ac:spMkLst>
            <pc:docMk/>
            <pc:sldMk cId="1152884593" sldId="2147479184"/>
            <ac:spMk id="8" creationId="{E5FD2761-A417-0059-78E3-0C3AD7E970DB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9" creationId="{EADF5B38-9D46-45F7-8020-08BD70667E4D}"/>
          </ac:spMkLst>
        </pc:spChg>
        <pc:spChg chg="add mod">
          <ac:chgData name="Koen Verbeeck" userId="24d0e79a7fd977da" providerId="LiveId" clId="{2915C232-C127-43C9-B354-7AEAA8B11E4E}" dt="2024-03-17T14:03:23.612" v="1217" actId="403"/>
          <ac:spMkLst>
            <pc:docMk/>
            <pc:sldMk cId="1152884593" sldId="2147479184"/>
            <ac:spMk id="10" creationId="{B76AAA08-7FF1-7051-6311-D6F65F380C92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1" creationId="{821CDE74-FF22-0EDA-0F88-A74681F6AE57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2" creationId="{E9CD2A38-989E-7936-674B-65D8793FD256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3" creationId="{726DEB38-17C2-5326-C66B-5F56AB4B8D49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4" creationId="{C5C41FBE-B947-4D46-B17B-2A1153931DCE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5" creationId="{44890AA1-FBD5-3E2A-6952-48302CC9BBC6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6" creationId="{6BEE8572-3389-94A2-12B9-F69BD96DA083}"/>
          </ac:spMkLst>
        </pc:spChg>
        <pc:spChg chg="add mod">
          <ac:chgData name="Koen Verbeeck" userId="24d0e79a7fd977da" providerId="LiveId" clId="{2915C232-C127-43C9-B354-7AEAA8B11E4E}" dt="2024-03-17T14:05:06.346" v="1252" actId="404"/>
          <ac:spMkLst>
            <pc:docMk/>
            <pc:sldMk cId="1152884593" sldId="2147479184"/>
            <ac:spMk id="17" creationId="{085BF53F-F099-C02E-83EB-3ECBE5CAA2B0}"/>
          </ac:spMkLst>
        </pc:spChg>
        <pc:spChg chg="add mod">
          <ac:chgData name="Koen Verbeeck" userId="24d0e79a7fd977da" providerId="LiveId" clId="{2915C232-C127-43C9-B354-7AEAA8B11E4E}" dt="2024-03-17T14:05:09.530" v="1254" actId="403"/>
          <ac:spMkLst>
            <pc:docMk/>
            <pc:sldMk cId="1152884593" sldId="2147479184"/>
            <ac:spMk id="18" creationId="{C3577AC9-CE80-4112-2CC4-FC76B5C31091}"/>
          </ac:spMkLst>
        </pc:spChg>
        <pc:spChg chg="add mod">
          <ac:chgData name="Koen Verbeeck" userId="24d0e79a7fd977da" providerId="LiveId" clId="{2915C232-C127-43C9-B354-7AEAA8B11E4E}" dt="2024-03-17T14:05:14.400" v="1258" actId="404"/>
          <ac:spMkLst>
            <pc:docMk/>
            <pc:sldMk cId="1152884593" sldId="2147479184"/>
            <ac:spMk id="19" creationId="{A5A0C9CF-6722-98AE-98FD-38B1E3EA01AC}"/>
          </ac:spMkLst>
        </pc:spChg>
        <pc:spChg chg="add mod">
          <ac:chgData name="Koen Verbeeck" userId="24d0e79a7fd977da" providerId="LiveId" clId="{2915C232-C127-43C9-B354-7AEAA8B11E4E}" dt="2024-03-17T14:08:50.165" v="1300" actId="14100"/>
          <ac:spMkLst>
            <pc:docMk/>
            <pc:sldMk cId="1152884593" sldId="2147479184"/>
            <ac:spMk id="21" creationId="{15CE7A8B-77D3-4A14-F34B-F9B87DE3D83B}"/>
          </ac:spMkLst>
        </pc:spChg>
        <pc:spChg chg="add mod">
          <ac:chgData name="Koen Verbeeck" userId="24d0e79a7fd977da" providerId="LiveId" clId="{2915C232-C127-43C9-B354-7AEAA8B11E4E}" dt="2024-03-17T14:05:40.827" v="1264" actId="404"/>
          <ac:spMkLst>
            <pc:docMk/>
            <pc:sldMk cId="1152884593" sldId="2147479184"/>
            <ac:spMk id="22" creationId="{005A3E5C-4E6B-ED82-9EF6-50F9289F97B8}"/>
          </ac:spMkLst>
        </pc:spChg>
        <pc:spChg chg="add mod">
          <ac:chgData name="Koen Verbeeck" userId="24d0e79a7fd977da" providerId="LiveId" clId="{2915C232-C127-43C9-B354-7AEAA8B11E4E}" dt="2024-03-17T14:04:27.591" v="1240" actId="403"/>
          <ac:spMkLst>
            <pc:docMk/>
            <pc:sldMk cId="1152884593" sldId="2147479184"/>
            <ac:spMk id="23" creationId="{C8D3EB74-8D1C-5AE9-45F5-0FCCF75F8DBE}"/>
          </ac:spMkLst>
        </pc:spChg>
        <pc:spChg chg="add mod">
          <ac:chgData name="Koen Verbeeck" userId="24d0e79a7fd977da" providerId="LiveId" clId="{2915C232-C127-43C9-B354-7AEAA8B11E4E}" dt="2024-03-17T14:04:00.254" v="1229" actId="403"/>
          <ac:spMkLst>
            <pc:docMk/>
            <pc:sldMk cId="1152884593" sldId="2147479184"/>
            <ac:spMk id="24" creationId="{FEEBC3DF-65DB-35F8-98AD-1CBCEE4120B6}"/>
          </ac:spMkLst>
        </pc:spChg>
        <pc:spChg chg="add mod">
          <ac:chgData name="Koen Verbeeck" userId="24d0e79a7fd977da" providerId="LiveId" clId="{2915C232-C127-43C9-B354-7AEAA8B11E4E}" dt="2024-03-17T14:05:36.331" v="1263" actId="403"/>
          <ac:spMkLst>
            <pc:docMk/>
            <pc:sldMk cId="1152884593" sldId="2147479184"/>
            <ac:spMk id="25" creationId="{F2940F19-D81B-3E91-88EB-5C03256056F9}"/>
          </ac:spMkLst>
        </pc:spChg>
        <pc:spChg chg="add mod">
          <ac:chgData name="Koen Verbeeck" userId="24d0e79a7fd977da" providerId="LiveId" clId="{2915C232-C127-43C9-B354-7AEAA8B11E4E}" dt="2024-03-17T14:04:09.585" v="1232" actId="403"/>
          <ac:spMkLst>
            <pc:docMk/>
            <pc:sldMk cId="1152884593" sldId="2147479184"/>
            <ac:spMk id="26" creationId="{A9DC158D-D4FA-5FA1-CA33-FFD6DAA09289}"/>
          </ac:spMkLst>
        </pc:spChg>
        <pc:spChg chg="add mod">
          <ac:chgData name="Koen Verbeeck" userId="24d0e79a7fd977da" providerId="LiveId" clId="{2915C232-C127-43C9-B354-7AEAA8B11E4E}" dt="2024-03-17T14:04:19.767" v="1235" actId="255"/>
          <ac:spMkLst>
            <pc:docMk/>
            <pc:sldMk cId="1152884593" sldId="2147479184"/>
            <ac:spMk id="27" creationId="{AF06F1B5-8FF5-B466-7D65-D95198619C06}"/>
          </ac:spMkLst>
        </pc:spChg>
        <pc:spChg chg="add mod">
          <ac:chgData name="Koen Verbeeck" userId="24d0e79a7fd977da" providerId="LiveId" clId="{2915C232-C127-43C9-B354-7AEAA8B11E4E}" dt="2024-03-17T14:08:43.601" v="1299" actId="1076"/>
          <ac:spMkLst>
            <pc:docMk/>
            <pc:sldMk cId="1152884593" sldId="2147479184"/>
            <ac:spMk id="28" creationId="{7F4BC875-E8FB-A32C-BF72-BBE00B7CF2F5}"/>
          </ac:spMkLst>
        </pc:spChg>
        <pc:spChg chg="add mod">
          <ac:chgData name="Koen Verbeeck" userId="24d0e79a7fd977da" providerId="LiveId" clId="{2915C232-C127-43C9-B354-7AEAA8B11E4E}" dt="2024-03-17T14:04:31.969" v="1242" actId="403"/>
          <ac:spMkLst>
            <pc:docMk/>
            <pc:sldMk cId="1152884593" sldId="2147479184"/>
            <ac:spMk id="29" creationId="{C387D03F-A0BE-BA46-E914-8A2DC998D8B0}"/>
          </ac:spMkLst>
        </pc:spChg>
        <pc:grpChg chg="add mod">
          <ac:chgData name="Koen Verbeeck" userId="24d0e79a7fd977da" providerId="LiveId" clId="{2915C232-C127-43C9-B354-7AEAA8B11E4E}" dt="2024-03-17T14:05:29.858" v="1261" actId="14100"/>
          <ac:grpSpMkLst>
            <pc:docMk/>
            <pc:sldMk cId="1152884593" sldId="2147479184"/>
            <ac:grpSpMk id="4" creationId="{3664F832-967D-29E6-D191-9553CCDA13FE}"/>
          </ac:grpSpMkLst>
        </pc:grpChg>
        <pc:cxnChg chg="add mod">
          <ac:chgData name="Koen Verbeeck" userId="24d0e79a7fd977da" providerId="LiveId" clId="{2915C232-C127-43C9-B354-7AEAA8B11E4E}" dt="2024-03-17T14:03:04.490" v="1188"/>
          <ac:cxnSpMkLst>
            <pc:docMk/>
            <pc:sldMk cId="1152884593" sldId="2147479184"/>
            <ac:cxnSpMk id="20" creationId="{C8CA1C31-93FD-0C72-AE8B-F72E3B77D7C6}"/>
          </ac:cxnSpMkLst>
        </pc:cxnChg>
      </pc:sldChg>
      <pc:sldChg chg="addSp delSp modSp add mod modTransition">
        <pc:chgData name="Koen Verbeeck" userId="24d0e79a7fd977da" providerId="LiveId" clId="{2915C232-C127-43C9-B354-7AEAA8B11E4E}" dt="2024-03-31T20:11:13.741" v="6615"/>
        <pc:sldMkLst>
          <pc:docMk/>
          <pc:sldMk cId="3496110655" sldId="2147479185"/>
        </pc:sldMkLst>
        <pc:spChg chg="add">
          <ac:chgData name="Koen Verbeeck" userId="24d0e79a7fd977da" providerId="LiveId" clId="{2915C232-C127-43C9-B354-7AEAA8B11E4E}" dt="2024-03-17T14:16:11.721" v="1393"/>
          <ac:spMkLst>
            <pc:docMk/>
            <pc:sldMk cId="3496110655" sldId="2147479185"/>
            <ac:spMk id="2" creationId="{E1FAFDCF-B217-07D5-7E13-04DC3C976345}"/>
          </ac:spMkLst>
        </pc:spChg>
        <pc:spChg chg="mod">
          <ac:chgData name="Koen Verbeeck" userId="24d0e79a7fd977da" providerId="LiveId" clId="{2915C232-C127-43C9-B354-7AEAA8B11E4E}" dt="2024-03-17T14:10:39.495" v="1320" actId="20577"/>
          <ac:spMkLst>
            <pc:docMk/>
            <pc:sldMk cId="3496110655" sldId="2147479185"/>
            <ac:spMk id="3" creationId="{4EE494F8-00AE-F127-FF0A-08194CCD605E}"/>
          </ac:spMkLst>
        </pc:spChg>
        <pc:spChg chg="del">
          <ac:chgData name="Koen Verbeeck" userId="24d0e79a7fd977da" providerId="LiveId" clId="{2915C232-C127-43C9-B354-7AEAA8B11E4E}" dt="2024-03-17T14:10:20.386" v="1304" actId="478"/>
          <ac:spMkLst>
            <pc:docMk/>
            <pc:sldMk cId="3496110655" sldId="2147479185"/>
            <ac:spMk id="15" creationId="{44890AA1-FBD5-3E2A-6952-48302CC9BBC6}"/>
          </ac:spMkLst>
        </pc:spChg>
        <pc:spChg chg="del">
          <ac:chgData name="Koen Verbeeck" userId="24d0e79a7fd977da" providerId="LiveId" clId="{2915C232-C127-43C9-B354-7AEAA8B11E4E}" dt="2024-03-17T14:10:24.622" v="1305" actId="478"/>
          <ac:spMkLst>
            <pc:docMk/>
            <pc:sldMk cId="3496110655" sldId="2147479185"/>
            <ac:spMk id="16" creationId="{6BEE8572-3389-94A2-12B9-F69BD96DA083}"/>
          </ac:spMkLst>
        </pc:spChg>
        <pc:spChg chg="del">
          <ac:chgData name="Koen Verbeeck" userId="24d0e79a7fd977da" providerId="LiveId" clId="{2915C232-C127-43C9-B354-7AEAA8B11E4E}" dt="2024-03-17T14:10:15.213" v="1303" actId="478"/>
          <ac:spMkLst>
            <pc:docMk/>
            <pc:sldMk cId="3496110655" sldId="2147479185"/>
            <ac:spMk id="18" creationId="{C3577AC9-CE80-4112-2CC4-FC76B5C31091}"/>
          </ac:spMkLst>
        </pc:spChg>
        <pc:spChg chg="del">
          <ac:chgData name="Koen Verbeeck" userId="24d0e79a7fd977da" providerId="LiveId" clId="{2915C232-C127-43C9-B354-7AEAA8B11E4E}" dt="2024-03-17T14:10:26.260" v="1306" actId="478"/>
          <ac:spMkLst>
            <pc:docMk/>
            <pc:sldMk cId="3496110655" sldId="2147479185"/>
            <ac:spMk id="19" creationId="{A5A0C9CF-6722-98AE-98FD-38B1E3EA01AC}"/>
          </ac:spMkLst>
        </pc:spChg>
        <pc:spChg chg="add del mod">
          <ac:chgData name="Koen Verbeeck" userId="24d0e79a7fd977da" providerId="LiveId" clId="{2915C232-C127-43C9-B354-7AEAA8B11E4E}" dt="2024-03-17T14:15:42.918" v="1392" actId="207"/>
          <ac:spMkLst>
            <pc:docMk/>
            <pc:sldMk cId="3496110655" sldId="2147479185"/>
            <ac:spMk id="25" creationId="{F2940F19-D81B-3E91-88EB-5C03256056F9}"/>
          </ac:spMkLst>
        </pc:spChg>
        <pc:spChg chg="del">
          <ac:chgData name="Koen Verbeeck" userId="24d0e79a7fd977da" providerId="LiveId" clId="{2915C232-C127-43C9-B354-7AEAA8B11E4E}" dt="2024-03-17T14:14:28.056" v="1389" actId="478"/>
          <ac:spMkLst>
            <pc:docMk/>
            <pc:sldMk cId="3496110655" sldId="2147479185"/>
            <ac:spMk id="28" creationId="{7F4BC875-E8FB-A32C-BF72-BBE00B7CF2F5}"/>
          </ac:spMkLst>
        </pc:spChg>
        <pc:spChg chg="add del mod">
          <ac:chgData name="Koen Verbeeck" userId="24d0e79a7fd977da" providerId="LiveId" clId="{2915C232-C127-43C9-B354-7AEAA8B11E4E}" dt="2024-03-17T14:16:37.096" v="1475" actId="478"/>
          <ac:spMkLst>
            <pc:docMk/>
            <pc:sldMk cId="3496110655" sldId="2147479185"/>
            <ac:spMk id="30" creationId="{1C425394-0450-3A43-C2EC-05881A00329C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32" creationId="{3B20353B-056F-6ADC-7F8E-D00B73472D25}"/>
          </ac:spMkLst>
        </pc:spChg>
        <pc:spChg chg="add mod">
          <ac:chgData name="Koen Verbeeck" userId="24d0e79a7fd977da" providerId="LiveId" clId="{2915C232-C127-43C9-B354-7AEAA8B11E4E}" dt="2024-03-17T14:20:52.195" v="1548" actId="12789"/>
          <ac:spMkLst>
            <pc:docMk/>
            <pc:sldMk cId="3496110655" sldId="2147479185"/>
            <ac:spMk id="34" creationId="{2D3404E8-8F1D-4AE3-3562-6BD9A54AC169}"/>
          </ac:spMkLst>
        </pc:spChg>
        <pc:spChg chg="add del mod">
          <ac:chgData name="Koen Verbeeck" userId="24d0e79a7fd977da" providerId="LiveId" clId="{2915C232-C127-43C9-B354-7AEAA8B11E4E}" dt="2024-03-17T14:18:45.671" v="1511" actId="478"/>
          <ac:spMkLst>
            <pc:docMk/>
            <pc:sldMk cId="3496110655" sldId="2147479185"/>
            <ac:spMk id="35" creationId="{A4E434B9-68B5-1BD0-8EDB-FC985203526E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38" creationId="{505DDFB4-7937-4986-795F-E40F3130921B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39" creationId="{EF404E25-F05D-C6DD-D242-BF579E8C4EC9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42" creationId="{A873D263-2A32-C662-E9B9-26A3DFE74C46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43" creationId="{6CA09944-DC59-00AC-1CA5-D7E86C4FA3C4}"/>
          </ac:spMkLst>
        </pc:spChg>
        <pc:spChg chg="add mod">
          <ac:chgData name="Koen Verbeeck" userId="24d0e79a7fd977da" providerId="LiveId" clId="{2915C232-C127-43C9-B354-7AEAA8B11E4E}" dt="2024-03-17T14:20:52.195" v="1548" actId="12789"/>
          <ac:spMkLst>
            <pc:docMk/>
            <pc:sldMk cId="3496110655" sldId="2147479185"/>
            <ac:spMk id="46" creationId="{D1F91B39-4CBB-4B4A-AE25-40BB5F3FB154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48" creationId="{0AFDDBEA-338B-15F2-8D37-DAD4E5C5EEC4}"/>
          </ac:spMkLst>
        </pc:spChg>
        <pc:spChg chg="add mod">
          <ac:chgData name="Koen Verbeeck" userId="24d0e79a7fd977da" providerId="LiveId" clId="{2915C232-C127-43C9-B354-7AEAA8B11E4E}" dt="2024-03-17T14:20:52.195" v="1548" actId="12789"/>
          <ac:spMkLst>
            <pc:docMk/>
            <pc:sldMk cId="3496110655" sldId="2147479185"/>
            <ac:spMk id="50" creationId="{54A61659-1658-845F-CF9A-524AC2784F48}"/>
          </ac:spMkLst>
        </pc:spChg>
        <pc:spChg chg="add mod">
          <ac:chgData name="Koen Verbeeck" userId="24d0e79a7fd977da" providerId="LiveId" clId="{2915C232-C127-43C9-B354-7AEAA8B11E4E}" dt="2024-03-17T14:20:52.195" v="1548" actId="12789"/>
          <ac:spMkLst>
            <pc:docMk/>
            <pc:sldMk cId="3496110655" sldId="2147479185"/>
            <ac:spMk id="52" creationId="{27C0C6DE-12F9-1D32-82E1-9B9E86B0E0FB}"/>
          </ac:spMkLst>
        </pc:sp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31" creationId="{5E08049D-8DBD-9AC1-8524-555DF5368832}"/>
          </ac:picMkLst>
        </pc:picChg>
        <pc:picChg chg="add mod">
          <ac:chgData name="Koen Verbeeck" userId="24d0e79a7fd977da" providerId="LiveId" clId="{2915C232-C127-43C9-B354-7AEAA8B11E4E}" dt="2024-03-17T14:20:52.195" v="1548" actId="12789"/>
          <ac:picMkLst>
            <pc:docMk/>
            <pc:sldMk cId="3496110655" sldId="2147479185"/>
            <ac:picMk id="33" creationId="{7C78CE23-14F1-74AC-3AF7-7D4418F04136}"/>
          </ac:picMkLst>
        </pc:picChg>
        <pc:picChg chg="add del mod">
          <ac:chgData name="Koen Verbeeck" userId="24d0e79a7fd977da" providerId="LiveId" clId="{2915C232-C127-43C9-B354-7AEAA8B11E4E}" dt="2024-03-17T14:18:45.671" v="1511" actId="478"/>
          <ac:picMkLst>
            <pc:docMk/>
            <pc:sldMk cId="3496110655" sldId="2147479185"/>
            <ac:picMk id="36" creationId="{6D7439E9-AC74-D051-28F8-5E645373E7AA}"/>
          </ac:picMkLst>
        </pc:picChg>
        <pc:picChg chg="add del mod">
          <ac:chgData name="Koen Verbeeck" userId="24d0e79a7fd977da" providerId="LiveId" clId="{2915C232-C127-43C9-B354-7AEAA8B11E4E}" dt="2024-03-17T14:18:45.671" v="1511" actId="478"/>
          <ac:picMkLst>
            <pc:docMk/>
            <pc:sldMk cId="3496110655" sldId="2147479185"/>
            <ac:picMk id="37" creationId="{3015E853-E71C-6224-CC56-6F511CD838AB}"/>
          </ac:picMkLst>
        </pc:pic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40" creationId="{49DF96B7-F904-785B-FBF3-E22A32E77CE9}"/>
          </ac:picMkLst>
        </pc:pic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41" creationId="{2724679F-1E83-2BF1-D0DD-4CC6267C08E3}"/>
          </ac:picMkLst>
        </pc:pic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44" creationId="{DE1EDACC-0F76-FDF3-2ACF-CB3B647CE0E9}"/>
          </ac:picMkLst>
        </pc:picChg>
        <pc:picChg chg="add mod">
          <ac:chgData name="Koen Verbeeck" userId="24d0e79a7fd977da" providerId="LiveId" clId="{2915C232-C127-43C9-B354-7AEAA8B11E4E}" dt="2024-03-17T14:20:52.195" v="1548" actId="12789"/>
          <ac:picMkLst>
            <pc:docMk/>
            <pc:sldMk cId="3496110655" sldId="2147479185"/>
            <ac:picMk id="45" creationId="{ABBA8645-7E5F-416A-FCB7-9F0C7823DD0A}"/>
          </ac:picMkLst>
        </pc:pic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47" creationId="{1A94C140-F939-69BE-231F-0CBB2454979A}"/>
          </ac:picMkLst>
        </pc:picChg>
        <pc:picChg chg="add mod">
          <ac:chgData name="Koen Verbeeck" userId="24d0e79a7fd977da" providerId="LiveId" clId="{2915C232-C127-43C9-B354-7AEAA8B11E4E}" dt="2024-03-17T14:20:59.901" v="1552" actId="1037"/>
          <ac:picMkLst>
            <pc:docMk/>
            <pc:sldMk cId="3496110655" sldId="2147479185"/>
            <ac:picMk id="49" creationId="{8EB57E82-898B-9977-D5CF-D8B8953FFCA3}"/>
          </ac:picMkLst>
        </pc:picChg>
        <pc:picChg chg="add mod">
          <ac:chgData name="Koen Verbeeck" userId="24d0e79a7fd977da" providerId="LiveId" clId="{2915C232-C127-43C9-B354-7AEAA8B11E4E}" dt="2024-03-17T14:20:52.195" v="1548" actId="12789"/>
          <ac:picMkLst>
            <pc:docMk/>
            <pc:sldMk cId="3496110655" sldId="2147479185"/>
            <ac:picMk id="51" creationId="{49289B0E-F193-B521-0E5F-5C64A2A1A1AE}"/>
          </ac:picMkLst>
        </pc:picChg>
        <pc:picChg chg="add">
          <ac:chgData name="Koen Verbeeck" userId="24d0e79a7fd977da" providerId="LiveId" clId="{2915C232-C127-43C9-B354-7AEAA8B11E4E}" dt="2024-03-17T14:16:11.721" v="1393"/>
          <ac:picMkLst>
            <pc:docMk/>
            <pc:sldMk cId="3496110655" sldId="2147479185"/>
            <ac:picMk id="2051" creationId="{90639629-2091-51A9-B663-1FDD80ACF043}"/>
          </ac:picMkLst>
        </pc:picChg>
        <pc:picChg chg="add">
          <ac:chgData name="Koen Verbeeck" userId="24d0e79a7fd977da" providerId="LiveId" clId="{2915C232-C127-43C9-B354-7AEAA8B11E4E}" dt="2024-03-17T14:16:11.721" v="1393"/>
          <ac:picMkLst>
            <pc:docMk/>
            <pc:sldMk cId="3496110655" sldId="2147479185"/>
            <ac:picMk id="2052" creationId="{DC7644D2-02CE-4FDD-0C3D-C73654FA8D61}"/>
          </ac:picMkLst>
        </pc:picChg>
        <pc:picChg chg="add del mod">
          <ac:chgData name="Koen Verbeeck" userId="24d0e79a7fd977da" providerId="LiveId" clId="{2915C232-C127-43C9-B354-7AEAA8B11E4E}" dt="2024-03-17T14:16:37.096" v="1475" actId="478"/>
          <ac:picMkLst>
            <pc:docMk/>
            <pc:sldMk cId="3496110655" sldId="2147479185"/>
            <ac:picMk id="2055" creationId="{E2EBC0E0-8DBB-4290-ECE7-C1EA21D57E17}"/>
          </ac:picMkLst>
        </pc:picChg>
      </pc:sldChg>
      <pc:sldChg chg="addSp delSp modSp add mod modTransition modAnim">
        <pc:chgData name="Koen Verbeeck" userId="24d0e79a7fd977da" providerId="LiveId" clId="{2915C232-C127-43C9-B354-7AEAA8B11E4E}" dt="2024-03-31T20:11:13.741" v="6615"/>
        <pc:sldMkLst>
          <pc:docMk/>
          <pc:sldMk cId="53278427" sldId="2147479186"/>
        </pc:sldMkLst>
        <pc:spChg chg="mod">
          <ac:chgData name="Koen Verbeeck" userId="24d0e79a7fd977da" providerId="LiveId" clId="{2915C232-C127-43C9-B354-7AEAA8B11E4E}" dt="2024-03-17T14:29:24.928" v="1567"/>
          <ac:spMkLst>
            <pc:docMk/>
            <pc:sldMk cId="53278427" sldId="2147479186"/>
            <ac:spMk id="3" creationId="{4EE494F8-00AE-F127-FF0A-08194CCD605E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5" creationId="{F7BB3856-62D3-5962-E359-4ABBD215CA21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6" creationId="{4E00AF17-9876-82AB-1918-075C7F65F512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7" creationId="{F7CA6D37-5A0E-6C1B-C947-7B1530D66106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8" creationId="{E5FD2761-A417-0059-78E3-0C3AD7E970DB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9" creationId="{EADF5B38-9D46-45F7-8020-08BD70667E4D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0" creationId="{B76AAA08-7FF1-7051-6311-D6F65F380C92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1" creationId="{821CDE74-FF22-0EDA-0F88-A74681F6AE57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2" creationId="{E9CD2A38-989E-7936-674B-65D8793FD256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3" creationId="{726DEB38-17C2-5326-C66B-5F56AB4B8D49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4" creationId="{C5C41FBE-B947-4D46-B17B-2A1153931DCE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5" creationId="{44890AA1-FBD5-3E2A-6952-48302CC9BBC6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6" creationId="{6BEE8572-3389-94A2-12B9-F69BD96DA083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7" creationId="{085BF53F-F099-C02E-83EB-3ECBE5CAA2B0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8" creationId="{C3577AC9-CE80-4112-2CC4-FC76B5C31091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9" creationId="{A5A0C9CF-6722-98AE-98FD-38B1E3EA01AC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1" creationId="{15CE7A8B-77D3-4A14-F34B-F9B87DE3D83B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2" creationId="{005A3E5C-4E6B-ED82-9EF6-50F9289F97B8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3" creationId="{C8D3EB74-8D1C-5AE9-45F5-0FCCF75F8DBE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4" creationId="{FEEBC3DF-65DB-35F8-98AD-1CBCEE4120B6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5" creationId="{F2940F19-D81B-3E91-88EB-5C03256056F9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6" creationId="{A9DC158D-D4FA-5FA1-CA33-FFD6DAA09289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7" creationId="{AF06F1B5-8FF5-B466-7D65-D95198619C06}"/>
          </ac:spMkLst>
        </pc:spChg>
        <pc:spChg chg="del mod topLvl">
          <ac:chgData name="Koen Verbeeck" userId="24d0e79a7fd977da" providerId="LiveId" clId="{2915C232-C127-43C9-B354-7AEAA8B11E4E}" dt="2024-03-17T14:22:38.648" v="1555" actId="478"/>
          <ac:spMkLst>
            <pc:docMk/>
            <pc:sldMk cId="53278427" sldId="2147479186"/>
            <ac:spMk id="28" creationId="{7F4BC875-E8FB-A32C-BF72-BBE00B7CF2F5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9" creationId="{C387D03F-A0BE-BA46-E914-8A2DC998D8B0}"/>
          </ac:spMkLst>
        </pc:spChg>
        <pc:grpChg chg="del">
          <ac:chgData name="Koen Verbeeck" userId="24d0e79a7fd977da" providerId="LiveId" clId="{2915C232-C127-43C9-B354-7AEAA8B11E4E}" dt="2024-03-17T14:22:35.326" v="1554" actId="165"/>
          <ac:grpSpMkLst>
            <pc:docMk/>
            <pc:sldMk cId="53278427" sldId="2147479186"/>
            <ac:grpSpMk id="4" creationId="{3664F832-967D-29E6-D191-9553CCDA13FE}"/>
          </ac:grpSpMkLst>
        </pc:grp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2" creationId="{9D377B65-E042-543D-9310-8A1412E76002}"/>
          </ac:picMkLst>
        </pc:pic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30" creationId="{4E5D43F5-CD40-0823-0C4F-AC6399B79B06}"/>
          </ac:picMkLst>
        </pc:pic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31" creationId="{31089278-2ED3-F048-1783-3648BA270097}"/>
          </ac:picMkLst>
        </pc:pic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32" creationId="{E5A08A18-F381-DAE8-5B69-4E2D02B6200D}"/>
          </ac:picMkLst>
        </pc:pic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33" creationId="{5F10C4FF-2848-29F0-9F69-B2787E67EF4E}"/>
          </ac:picMkLst>
        </pc:picChg>
        <pc:cxnChg chg="mod topLvl">
          <ac:chgData name="Koen Verbeeck" userId="24d0e79a7fd977da" providerId="LiveId" clId="{2915C232-C127-43C9-B354-7AEAA8B11E4E}" dt="2024-03-17T14:22:35.326" v="1554" actId="165"/>
          <ac:cxnSpMkLst>
            <pc:docMk/>
            <pc:sldMk cId="53278427" sldId="2147479186"/>
            <ac:cxnSpMk id="20" creationId="{C8CA1C31-93FD-0C72-AE8B-F72E3B77D7C6}"/>
          </ac:cxnSpMkLst>
        </pc:cxnChg>
      </pc:sldChg>
      <pc:sldChg chg="addSp delSp modSp add mod modTransition">
        <pc:chgData name="Koen Verbeeck" userId="24d0e79a7fd977da" providerId="LiveId" clId="{2915C232-C127-43C9-B354-7AEAA8B11E4E}" dt="2024-03-31T20:36:57.277" v="6814" actId="1076"/>
        <pc:sldMkLst>
          <pc:docMk/>
          <pc:sldMk cId="1194623747" sldId="2147479187"/>
        </pc:sldMkLst>
        <pc:spChg chg="mod">
          <ac:chgData name="Koen Verbeeck" userId="24d0e79a7fd977da" providerId="LiveId" clId="{2915C232-C127-43C9-B354-7AEAA8B11E4E}" dt="2024-03-17T14:34:36.413" v="1609" actId="1076"/>
          <ac:spMkLst>
            <pc:docMk/>
            <pc:sldMk cId="1194623747" sldId="2147479187"/>
            <ac:spMk id="3" creationId="{4EE494F8-00AE-F127-FF0A-08194CCD605E}"/>
          </ac:spMkLst>
        </pc:spChg>
        <pc:spChg chg="mod">
          <ac:chgData name="Koen Verbeeck" userId="24d0e79a7fd977da" providerId="LiveId" clId="{2915C232-C127-43C9-B354-7AEAA8B11E4E}" dt="2024-03-17T14:55:21.518" v="1787" actId="20577"/>
          <ac:spMkLst>
            <pc:docMk/>
            <pc:sldMk cId="1194623747" sldId="2147479187"/>
            <ac:spMk id="7" creationId="{F7CA6D37-5A0E-6C1B-C947-7B1530D66106}"/>
          </ac:spMkLst>
        </pc:spChg>
        <pc:spChg chg="add">
          <ac:chgData name="Koen Verbeeck" userId="24d0e79a7fd977da" providerId="LiveId" clId="{2915C232-C127-43C9-B354-7AEAA8B11E4E}" dt="2024-03-17T14:54:28.112" v="1776"/>
          <ac:spMkLst>
            <pc:docMk/>
            <pc:sldMk cId="1194623747" sldId="2147479187"/>
            <ac:spMk id="55" creationId="{3AF5F336-A5E4-4B1E-6E9E-0CA2B179C1DC}"/>
          </ac:spMkLst>
        </pc:spChg>
        <pc:grpChg chg="mod">
          <ac:chgData name="Koen Verbeeck" userId="24d0e79a7fd977da" providerId="LiveId" clId="{2915C232-C127-43C9-B354-7AEAA8B11E4E}" dt="2024-03-17T14:34:33.555" v="1607" actId="1076"/>
          <ac:grpSpMkLst>
            <pc:docMk/>
            <pc:sldMk cId="1194623747" sldId="2147479187"/>
            <ac:grpSpMk id="4" creationId="{3664F832-967D-29E6-D191-9553CCDA13FE}"/>
          </ac:grpSpMkLst>
        </pc:grpChg>
        <pc:picChg chg="add mod">
          <ac:chgData name="Koen Verbeeck" userId="24d0e79a7fd977da" providerId="LiveId" clId="{2915C232-C127-43C9-B354-7AEAA8B11E4E}" dt="2024-03-17T14:29:58.749" v="1575" actId="14100"/>
          <ac:picMkLst>
            <pc:docMk/>
            <pc:sldMk cId="1194623747" sldId="2147479187"/>
            <ac:picMk id="2" creationId="{648AB70E-5B9D-D7A2-E096-E515FC4A7862}"/>
          </ac:picMkLst>
        </pc:picChg>
        <pc:picChg chg="add del mod">
          <ac:chgData name="Koen Verbeeck" userId="24d0e79a7fd977da" providerId="LiveId" clId="{2915C232-C127-43C9-B354-7AEAA8B11E4E}" dt="2024-03-17T14:30:02.718" v="1577" actId="478"/>
          <ac:picMkLst>
            <pc:docMk/>
            <pc:sldMk cId="1194623747" sldId="2147479187"/>
            <ac:picMk id="15" creationId="{7FAE7DE6-A91C-27E7-2924-22EEFFA5E2B9}"/>
          </ac:picMkLst>
        </pc:picChg>
        <pc:picChg chg="add mod">
          <ac:chgData name="Koen Verbeeck" userId="24d0e79a7fd977da" providerId="LiveId" clId="{2915C232-C127-43C9-B354-7AEAA8B11E4E}" dt="2024-03-17T14:30:11.750" v="1581" actId="1076"/>
          <ac:picMkLst>
            <pc:docMk/>
            <pc:sldMk cId="1194623747" sldId="2147479187"/>
            <ac:picMk id="16" creationId="{AD43268F-F591-611B-DC90-92A8D9F3A72C}"/>
          </ac:picMkLst>
        </pc:picChg>
        <pc:picChg chg="add mod">
          <ac:chgData name="Koen Verbeeck" userId="24d0e79a7fd977da" providerId="LiveId" clId="{2915C232-C127-43C9-B354-7AEAA8B11E4E}" dt="2024-03-17T14:29:51.338" v="1572" actId="14100"/>
          <ac:picMkLst>
            <pc:docMk/>
            <pc:sldMk cId="1194623747" sldId="2147479187"/>
            <ac:picMk id="18" creationId="{304BDB6B-D144-CBA6-D863-494975AD4AA7}"/>
          </ac:picMkLst>
        </pc:picChg>
        <pc:picChg chg="add mod">
          <ac:chgData name="Koen Verbeeck" userId="24d0e79a7fd977da" providerId="LiveId" clId="{2915C232-C127-43C9-B354-7AEAA8B11E4E}" dt="2024-03-17T14:29:55.601" v="1574" actId="1076"/>
          <ac:picMkLst>
            <pc:docMk/>
            <pc:sldMk cId="1194623747" sldId="2147479187"/>
            <ac:picMk id="19" creationId="{A4F3DA49-3954-AEBF-A7D1-A18626E4ACFD}"/>
          </ac:picMkLst>
        </pc:picChg>
        <pc:picChg chg="add mod">
          <ac:chgData name="Koen Verbeeck" userId="24d0e79a7fd977da" providerId="LiveId" clId="{2915C232-C127-43C9-B354-7AEAA8B11E4E}" dt="2024-03-17T14:30:05.640" v="1579" actId="1076"/>
          <ac:picMkLst>
            <pc:docMk/>
            <pc:sldMk cId="1194623747" sldId="2147479187"/>
            <ac:picMk id="28" creationId="{857C83A6-978F-A6F3-455D-95A5DF33D5CE}"/>
          </ac:picMkLst>
        </pc:picChg>
        <pc:picChg chg="add mod">
          <ac:chgData name="Koen Verbeeck" userId="24d0e79a7fd977da" providerId="LiveId" clId="{2915C232-C127-43C9-B354-7AEAA8B11E4E}" dt="2024-03-17T14:33:10.722" v="1592" actId="1076"/>
          <ac:picMkLst>
            <pc:docMk/>
            <pc:sldMk cId="1194623747" sldId="2147479187"/>
            <ac:picMk id="30" creationId="{A27A6A5E-E5E2-23BD-994D-1CD39DF5F828}"/>
          </ac:picMkLst>
        </pc:picChg>
        <pc:picChg chg="add mod">
          <ac:chgData name="Koen Verbeeck" userId="24d0e79a7fd977da" providerId="LiveId" clId="{2915C232-C127-43C9-B354-7AEAA8B11E4E}" dt="2024-03-17T14:33:19.183" v="1594" actId="1076"/>
          <ac:picMkLst>
            <pc:docMk/>
            <pc:sldMk cId="1194623747" sldId="2147479187"/>
            <ac:picMk id="35" creationId="{6460BD68-7B16-2257-F3C8-5A463BCCB6D9}"/>
          </ac:picMkLst>
        </pc:picChg>
        <pc:picChg chg="add del mod">
          <ac:chgData name="Koen Verbeeck" userId="24d0e79a7fd977da" providerId="LiveId" clId="{2915C232-C127-43C9-B354-7AEAA8B11E4E}" dt="2024-03-31T20:36:25.388" v="6781" actId="478"/>
          <ac:picMkLst>
            <pc:docMk/>
            <pc:sldMk cId="1194623747" sldId="2147479187"/>
            <ac:picMk id="36" creationId="{FDF97001-F275-CDFA-7892-B92DC3F0A3A5}"/>
          </ac:picMkLst>
        </pc:picChg>
        <pc:picChg chg="add mod">
          <ac:chgData name="Koen Verbeeck" userId="24d0e79a7fd977da" providerId="LiveId" clId="{2915C232-C127-43C9-B354-7AEAA8B11E4E}" dt="2024-03-17T14:33:50.272" v="1600" actId="1076"/>
          <ac:picMkLst>
            <pc:docMk/>
            <pc:sldMk cId="1194623747" sldId="2147479187"/>
            <ac:picMk id="37" creationId="{EEED50FA-3537-8E06-E354-B526AE2F75D2}"/>
          </ac:picMkLst>
        </pc:picChg>
        <pc:picChg chg="del">
          <ac:chgData name="Koen Verbeeck" userId="24d0e79a7fd977da" providerId="LiveId" clId="{2915C232-C127-43C9-B354-7AEAA8B11E4E}" dt="2024-03-31T20:36:47.345" v="6809" actId="478"/>
          <ac:picMkLst>
            <pc:docMk/>
            <pc:sldMk cId="1194623747" sldId="2147479187"/>
            <ac:picMk id="41" creationId="{2724679F-1E83-2BF1-D0DD-4CC6267C08E3}"/>
          </ac:picMkLst>
        </pc:picChg>
        <pc:picChg chg="add mod">
          <ac:chgData name="Koen Verbeeck" userId="24d0e79a7fd977da" providerId="LiveId" clId="{2915C232-C127-43C9-B354-7AEAA8B11E4E}" dt="2024-03-17T14:34:42.920" v="1619" actId="1037"/>
          <ac:picMkLst>
            <pc:docMk/>
            <pc:sldMk cId="1194623747" sldId="2147479187"/>
            <ac:picMk id="53" creationId="{370C85BD-C397-E62C-9906-1D28F3FD2218}"/>
          </ac:picMkLst>
        </pc:picChg>
        <pc:picChg chg="add mod">
          <ac:chgData name="Koen Verbeeck" userId="24d0e79a7fd977da" providerId="LiveId" clId="{2915C232-C127-43C9-B354-7AEAA8B11E4E}" dt="2024-03-17T14:34:42.920" v="1619" actId="1037"/>
          <ac:picMkLst>
            <pc:docMk/>
            <pc:sldMk cId="1194623747" sldId="2147479187"/>
            <ac:picMk id="54" creationId="{6D64791F-7C0C-4296-9F2B-C28FFA731B6B}"/>
          </ac:picMkLst>
        </pc:picChg>
        <pc:picChg chg="add mod">
          <ac:chgData name="Koen Verbeeck" userId="24d0e79a7fd977da" providerId="LiveId" clId="{2915C232-C127-43C9-B354-7AEAA8B11E4E}" dt="2024-03-31T20:36:42.685" v="6806" actId="1037"/>
          <ac:picMkLst>
            <pc:docMk/>
            <pc:sldMk cId="1194623747" sldId="2147479187"/>
            <ac:picMk id="55" creationId="{CAB3D931-7F89-EAD7-EFAC-E48A8B5ECAA3}"/>
          </ac:picMkLst>
        </pc:picChg>
        <pc:picChg chg="add mod modCrop">
          <ac:chgData name="Koen Verbeeck" userId="24d0e79a7fd977da" providerId="LiveId" clId="{2915C232-C127-43C9-B354-7AEAA8B11E4E}" dt="2024-03-17T14:55:18.176" v="1785" actId="1076"/>
          <ac:picMkLst>
            <pc:docMk/>
            <pc:sldMk cId="1194623747" sldId="2147479187"/>
            <ac:picMk id="56" creationId="{48075621-5ACF-975C-8410-24E1791FE2FF}"/>
          </ac:picMkLst>
        </pc:picChg>
        <pc:picChg chg="add mod">
          <ac:chgData name="Koen Verbeeck" userId="24d0e79a7fd977da" providerId="LiveId" clId="{2915C232-C127-43C9-B354-7AEAA8B11E4E}" dt="2024-03-31T20:36:57.277" v="6814" actId="1076"/>
          <ac:picMkLst>
            <pc:docMk/>
            <pc:sldMk cId="1194623747" sldId="2147479187"/>
            <ac:picMk id="57" creationId="{F1D1BD74-835D-1805-6715-ED4948694600}"/>
          </ac:picMkLst>
        </pc:picChg>
        <pc:picChg chg="add mod">
          <ac:chgData name="Koen Verbeeck" userId="24d0e79a7fd977da" providerId="LiveId" clId="{2915C232-C127-43C9-B354-7AEAA8B11E4E}" dt="2024-03-17T14:31:10.409" v="1590" actId="1076"/>
          <ac:picMkLst>
            <pc:docMk/>
            <pc:sldMk cId="1194623747" sldId="2147479187"/>
            <ac:picMk id="3074" creationId="{9F41EAB6-3171-47AE-2F65-E06B80D61A87}"/>
          </ac:picMkLst>
        </pc:picChg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2111487475" sldId="2147479188"/>
        </pc:sldMkLst>
        <pc:spChg chg="del">
          <ac:chgData name="Koen Verbeeck" userId="24d0e79a7fd977da" providerId="LiveId" clId="{2915C232-C127-43C9-B354-7AEAA8B11E4E}" dt="2024-03-17T14:57:05.268" v="1788" actId="478"/>
          <ac:spMkLst>
            <pc:docMk/>
            <pc:sldMk cId="2111487475" sldId="2147479188"/>
            <ac:spMk id="2" creationId="{127A2AF6-CBCE-ECAA-661E-11456D3C800B}"/>
          </ac:spMkLst>
        </pc:spChg>
        <pc:spChg chg="mod ord">
          <ac:chgData name="Koen Verbeeck" userId="24d0e79a7fd977da" providerId="LiveId" clId="{2915C232-C127-43C9-B354-7AEAA8B11E4E}" dt="2024-03-17T15:05:34.246" v="2046" actId="700"/>
          <ac:spMkLst>
            <pc:docMk/>
            <pc:sldMk cId="2111487475" sldId="2147479188"/>
            <ac:spMk id="3" creationId="{5281309E-040C-B2FD-263C-FCDB9D20FA60}"/>
          </ac:spMkLst>
        </pc:spChg>
        <pc:picChg chg="add mod">
          <ac:chgData name="Koen Verbeeck" userId="24d0e79a7fd977da" providerId="LiveId" clId="{2915C232-C127-43C9-B354-7AEAA8B11E4E}" dt="2024-03-17T14:57:23.745" v="1792" actId="1076"/>
          <ac:picMkLst>
            <pc:docMk/>
            <pc:sldMk cId="2111487475" sldId="2147479188"/>
            <ac:picMk id="5" creationId="{6907E5BC-8CC4-4108-D33B-CC02534A1D59}"/>
          </ac:picMkLst>
        </pc:picChg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2795568263" sldId="2147479189"/>
        </pc:sldMkLst>
        <pc:spChg chg="del mod ord">
          <ac:chgData name="Koen Verbeeck" userId="24d0e79a7fd977da" providerId="LiveId" clId="{2915C232-C127-43C9-B354-7AEAA8B11E4E}" dt="2024-03-17T14:43:18.755" v="1626" actId="700"/>
          <ac:spMkLst>
            <pc:docMk/>
            <pc:sldMk cId="2795568263" sldId="2147479189"/>
            <ac:spMk id="2" creationId="{064CF83B-DFD4-B12C-5268-6DDBFD01A241}"/>
          </ac:spMkLst>
        </pc:spChg>
        <pc:spChg chg="del mod ord">
          <ac:chgData name="Koen Verbeeck" userId="24d0e79a7fd977da" providerId="LiveId" clId="{2915C232-C127-43C9-B354-7AEAA8B11E4E}" dt="2024-03-17T14:43:18.755" v="1626" actId="700"/>
          <ac:spMkLst>
            <pc:docMk/>
            <pc:sldMk cId="2795568263" sldId="2147479189"/>
            <ac:spMk id="3" creationId="{BF097A3B-0245-2D48-1372-64FD6BFBF560}"/>
          </ac:spMkLst>
        </pc:spChg>
        <pc:spChg chg="add mod ord">
          <ac:chgData name="Koen Verbeeck" userId="24d0e79a7fd977da" providerId="LiveId" clId="{2915C232-C127-43C9-B354-7AEAA8B11E4E}" dt="2024-03-17T14:43:25.767" v="1648" actId="20577"/>
          <ac:spMkLst>
            <pc:docMk/>
            <pc:sldMk cId="2795568263" sldId="2147479189"/>
            <ac:spMk id="4" creationId="{EA564521-D1CF-0E55-896D-6CFD4A02334B}"/>
          </ac:spMkLst>
        </pc:spChg>
        <pc:spChg chg="add mod ord">
          <ac:chgData name="Koen Verbeeck" userId="24d0e79a7fd977da" providerId="LiveId" clId="{2915C232-C127-43C9-B354-7AEAA8B11E4E}" dt="2024-03-17T14:43:18.755" v="1626" actId="700"/>
          <ac:spMkLst>
            <pc:docMk/>
            <pc:sldMk cId="2795568263" sldId="2147479189"/>
            <ac:spMk id="5" creationId="{FC253A81-FD6A-4242-9334-1E62453B9CF2}"/>
          </ac:spMkLst>
        </pc:spChg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84166459" sldId="2147479190"/>
        </pc:sldMkLst>
        <pc:spChg chg="del mod ord">
          <ac:chgData name="Koen Verbeeck" userId="24d0e79a7fd977da" providerId="LiveId" clId="{2915C232-C127-43C9-B354-7AEAA8B11E4E}" dt="2024-03-17T14:43:49.185" v="1650" actId="700"/>
          <ac:spMkLst>
            <pc:docMk/>
            <pc:sldMk cId="84166459" sldId="2147479190"/>
            <ac:spMk id="2" creationId="{5298A868-3866-6340-8A0A-4AA2058EBB65}"/>
          </ac:spMkLst>
        </pc:spChg>
        <pc:spChg chg="del mod ord">
          <ac:chgData name="Koen Verbeeck" userId="24d0e79a7fd977da" providerId="LiveId" clId="{2915C232-C127-43C9-B354-7AEAA8B11E4E}" dt="2024-03-17T14:43:49.185" v="1650" actId="700"/>
          <ac:spMkLst>
            <pc:docMk/>
            <pc:sldMk cId="84166459" sldId="2147479190"/>
            <ac:spMk id="3" creationId="{7807F79D-294E-13DF-4F94-C39928DC2D68}"/>
          </ac:spMkLst>
        </pc:spChg>
        <pc:spChg chg="add mod ord">
          <ac:chgData name="Koen Verbeeck" userId="24d0e79a7fd977da" providerId="LiveId" clId="{2915C232-C127-43C9-B354-7AEAA8B11E4E}" dt="2024-03-17T14:43:51.664" v="1662" actId="20577"/>
          <ac:spMkLst>
            <pc:docMk/>
            <pc:sldMk cId="84166459" sldId="2147479190"/>
            <ac:spMk id="4" creationId="{1449CCCE-37C1-FB34-F3F7-4057A999442D}"/>
          </ac:spMkLst>
        </pc:spChg>
        <pc:spChg chg="add mod ord">
          <ac:chgData name="Koen Verbeeck" userId="24d0e79a7fd977da" providerId="LiveId" clId="{2915C232-C127-43C9-B354-7AEAA8B11E4E}" dt="2024-03-17T14:44:09.884" v="1682" actId="20577"/>
          <ac:spMkLst>
            <pc:docMk/>
            <pc:sldMk cId="84166459" sldId="2147479190"/>
            <ac:spMk id="5" creationId="{BDFC78BB-302B-2311-4CC2-EE9B41AE5615}"/>
          </ac:spMkLst>
        </pc:spChg>
        <pc:spChg chg="add mod ord">
          <ac:chgData name="Koen Verbeeck" userId="24d0e79a7fd977da" providerId="LiveId" clId="{2915C232-C127-43C9-B354-7AEAA8B11E4E}" dt="2024-03-17T14:43:49.270" v="1651" actId="27636"/>
          <ac:spMkLst>
            <pc:docMk/>
            <pc:sldMk cId="84166459" sldId="2147479190"/>
            <ac:spMk id="6" creationId="{8DCD92B4-432B-7D16-1556-4B3983528F41}"/>
          </ac:spMkLst>
        </pc:spChg>
        <pc:spChg chg="add mod ord">
          <ac:chgData name="Koen Verbeeck" userId="24d0e79a7fd977da" providerId="LiveId" clId="{2915C232-C127-43C9-B354-7AEAA8B11E4E}" dt="2024-03-17T14:44:15.551" v="1688" actId="20577"/>
          <ac:spMkLst>
            <pc:docMk/>
            <pc:sldMk cId="84166459" sldId="2147479190"/>
            <ac:spMk id="7" creationId="{0C0B4EB7-1E13-EFD4-33AD-B7199C590F7F}"/>
          </ac:spMkLst>
        </pc:spChg>
        <pc:spChg chg="add mod ord">
          <ac:chgData name="Koen Verbeeck" userId="24d0e79a7fd977da" providerId="LiveId" clId="{2915C232-C127-43C9-B354-7AEAA8B11E4E}" dt="2024-03-17T14:43:49.279" v="1655" actId="27636"/>
          <ac:spMkLst>
            <pc:docMk/>
            <pc:sldMk cId="84166459" sldId="2147479190"/>
            <ac:spMk id="8" creationId="{3C668EA0-CFEE-D772-48D7-567B42F6DC95}"/>
          </ac:spMkLst>
        </pc:spChg>
        <pc:spChg chg="add mod ord">
          <ac:chgData name="Koen Verbeeck" userId="24d0e79a7fd977da" providerId="LiveId" clId="{2915C232-C127-43C9-B354-7AEAA8B11E4E}" dt="2024-03-17T14:44:18.732" v="1697" actId="20577"/>
          <ac:spMkLst>
            <pc:docMk/>
            <pc:sldMk cId="84166459" sldId="2147479190"/>
            <ac:spMk id="9" creationId="{BBEA78D3-0C38-7670-7532-1F70203854A2}"/>
          </ac:spMkLst>
        </pc:spChg>
        <pc:spChg chg="add mod ord">
          <ac:chgData name="Koen Verbeeck" userId="24d0e79a7fd977da" providerId="LiveId" clId="{2915C232-C127-43C9-B354-7AEAA8B11E4E}" dt="2024-03-17T14:43:49.277" v="1654" actId="27636"/>
          <ac:spMkLst>
            <pc:docMk/>
            <pc:sldMk cId="84166459" sldId="2147479190"/>
            <ac:spMk id="10" creationId="{9F1FA346-EE51-6E32-9B80-E65724AD2DE2}"/>
          </ac:spMkLst>
        </pc:spChg>
        <pc:spChg chg="add mod ord">
          <ac:chgData name="Koen Verbeeck" userId="24d0e79a7fd977da" providerId="LiveId" clId="{2915C232-C127-43C9-B354-7AEAA8B11E4E}" dt="2024-03-17T15:14:45.617" v="2200" actId="20577"/>
          <ac:spMkLst>
            <pc:docMk/>
            <pc:sldMk cId="84166459" sldId="2147479190"/>
            <ac:spMk id="11" creationId="{26F77D4D-9E45-4AA3-4936-B0B0E912E0ED}"/>
          </ac:spMkLst>
        </pc:spChg>
        <pc:spChg chg="add mod ord">
          <ac:chgData name="Koen Verbeeck" userId="24d0e79a7fd977da" providerId="LiveId" clId="{2915C232-C127-43C9-B354-7AEAA8B11E4E}" dt="2024-03-17T14:43:49.275" v="1653" actId="27636"/>
          <ac:spMkLst>
            <pc:docMk/>
            <pc:sldMk cId="84166459" sldId="2147479190"/>
            <ac:spMk id="12" creationId="{8D6A0321-05FC-9366-A087-8FE2EEC718FC}"/>
          </ac:spMkLst>
        </pc:spChg>
        <pc:spChg chg="add mod ord">
          <ac:chgData name="Koen Verbeeck" userId="24d0e79a7fd977da" providerId="LiveId" clId="{2915C232-C127-43C9-B354-7AEAA8B11E4E}" dt="2024-03-17T15:14:50.548" v="2205" actId="20577"/>
          <ac:spMkLst>
            <pc:docMk/>
            <pc:sldMk cId="84166459" sldId="2147479190"/>
            <ac:spMk id="13" creationId="{78363D9E-6A92-82B9-4329-0487D44F3705}"/>
          </ac:spMkLst>
        </pc:spChg>
        <pc:spChg chg="add mod ord">
          <ac:chgData name="Koen Verbeeck" userId="24d0e79a7fd977da" providerId="LiveId" clId="{2915C232-C127-43C9-B354-7AEAA8B11E4E}" dt="2024-03-17T14:43:49.282" v="1656" actId="27636"/>
          <ac:spMkLst>
            <pc:docMk/>
            <pc:sldMk cId="84166459" sldId="2147479190"/>
            <ac:spMk id="14" creationId="{22AFEB33-8999-AC8C-9F86-3F4AE3AD5E5E}"/>
          </ac:spMkLst>
        </pc:spChg>
        <pc:spChg chg="add mod ord">
          <ac:chgData name="Koen Verbeeck" userId="24d0e79a7fd977da" providerId="LiveId" clId="{2915C232-C127-43C9-B354-7AEAA8B11E4E}" dt="2024-03-17T14:44:33.682" v="1741" actId="20577"/>
          <ac:spMkLst>
            <pc:docMk/>
            <pc:sldMk cId="84166459" sldId="2147479190"/>
            <ac:spMk id="15" creationId="{AC6E3F63-374B-F2E4-7533-9B5BB571D27A}"/>
          </ac:spMkLst>
        </pc:spChg>
        <pc:spChg chg="add mod ord">
          <ac:chgData name="Koen Verbeeck" userId="24d0e79a7fd977da" providerId="LiveId" clId="{2915C232-C127-43C9-B354-7AEAA8B11E4E}" dt="2024-03-17T14:43:49.273" v="1652" actId="27636"/>
          <ac:spMkLst>
            <pc:docMk/>
            <pc:sldMk cId="84166459" sldId="2147479190"/>
            <ac:spMk id="16" creationId="{9E0ABD96-E068-07D4-355E-C3B572C0AA5B}"/>
          </ac:spMkLst>
        </pc:spChg>
      </pc:sldChg>
      <pc:sldChg chg="modSp add mod modTransition">
        <pc:chgData name="Koen Verbeeck" userId="24d0e79a7fd977da" providerId="LiveId" clId="{2915C232-C127-43C9-B354-7AEAA8B11E4E}" dt="2024-03-31T20:11:13.741" v="6615"/>
        <pc:sldMkLst>
          <pc:docMk/>
          <pc:sldMk cId="4278060633" sldId="2147479191"/>
        </pc:sldMkLst>
        <pc:spChg chg="mod">
          <ac:chgData name="Koen Verbeeck" userId="24d0e79a7fd977da" providerId="LiveId" clId="{2915C232-C127-43C9-B354-7AEAA8B11E4E}" dt="2024-03-17T14:44:58.983" v="1749" actId="20577"/>
          <ac:spMkLst>
            <pc:docMk/>
            <pc:sldMk cId="4278060633" sldId="2147479191"/>
            <ac:spMk id="4" creationId="{EA564521-D1CF-0E55-896D-6CFD4A02334B}"/>
          </ac:spMkLst>
        </pc:spChg>
      </pc:sldChg>
      <pc:sldChg chg="new del">
        <pc:chgData name="Koen Verbeeck" userId="24d0e79a7fd977da" providerId="LiveId" clId="{2915C232-C127-43C9-B354-7AEAA8B11E4E}" dt="2024-03-17T14:58:46.244" v="1795" actId="47"/>
        <pc:sldMkLst>
          <pc:docMk/>
          <pc:sldMk cId="234471662" sldId="2147479192"/>
        </pc:sldMkLst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2424307365" sldId="2147479192"/>
        </pc:sldMkLst>
        <pc:spChg chg="mod ord">
          <ac:chgData name="Koen Verbeeck" userId="24d0e79a7fd977da" providerId="LiveId" clId="{2915C232-C127-43C9-B354-7AEAA8B11E4E}" dt="2024-03-25T13:58:56.344" v="6154" actId="33524"/>
          <ac:spMkLst>
            <pc:docMk/>
            <pc:sldMk cId="2424307365" sldId="2147479192"/>
            <ac:spMk id="2" creationId="{82C1FBFC-C9B5-4C54-D3A9-B1060BF40156}"/>
          </ac:spMkLst>
        </pc:spChg>
        <pc:spChg chg="add del mod ord">
          <ac:chgData name="Koen Verbeeck" userId="24d0e79a7fd977da" providerId="LiveId" clId="{2915C232-C127-43C9-B354-7AEAA8B11E4E}" dt="2024-03-25T07:34:29.083" v="2272" actId="20577"/>
          <ac:spMkLst>
            <pc:docMk/>
            <pc:sldMk cId="2424307365" sldId="2147479192"/>
            <ac:spMk id="3" creationId="{A845CB2F-A918-26E1-3416-7B35EC262AAB}"/>
          </ac:spMkLst>
        </pc:spChg>
        <pc:spChg chg="add del mod">
          <ac:chgData name="Koen Verbeeck" userId="24d0e79a7fd977da" providerId="LiveId" clId="{2915C232-C127-43C9-B354-7AEAA8B11E4E}" dt="2024-03-17T15:05:19.772" v="2044" actId="478"/>
          <ac:spMkLst>
            <pc:docMk/>
            <pc:sldMk cId="2424307365" sldId="2147479192"/>
            <ac:spMk id="5" creationId="{D64710B6-29E8-9B5D-9457-340DEABC04A0}"/>
          </ac:spMkLst>
        </pc:spChg>
      </pc:sldChg>
      <pc:sldChg chg="modSp add mod modTransition">
        <pc:chgData name="Koen Verbeeck" userId="24d0e79a7fd977da" providerId="LiveId" clId="{2915C232-C127-43C9-B354-7AEAA8B11E4E}" dt="2024-03-31T20:11:13.741" v="6615"/>
        <pc:sldMkLst>
          <pc:docMk/>
          <pc:sldMk cId="1327942522" sldId="2147479193"/>
        </pc:sldMkLst>
        <pc:spChg chg="mod">
          <ac:chgData name="Koen Verbeeck" userId="24d0e79a7fd977da" providerId="LiveId" clId="{2915C232-C127-43C9-B354-7AEAA8B11E4E}" dt="2024-03-17T15:06:55.356" v="2056" actId="20577"/>
          <ac:spMkLst>
            <pc:docMk/>
            <pc:sldMk cId="1327942522" sldId="2147479193"/>
            <ac:spMk id="4" creationId="{EA564521-D1CF-0E55-896D-6CFD4A02334B}"/>
          </ac:spMkLst>
        </pc:spChg>
      </pc:sldChg>
      <pc:sldChg chg="new del">
        <pc:chgData name="Koen Verbeeck" userId="24d0e79a7fd977da" providerId="LiveId" clId="{2915C232-C127-43C9-B354-7AEAA8B11E4E}" dt="2024-03-17T15:04:38.883" v="2010" actId="47"/>
        <pc:sldMkLst>
          <pc:docMk/>
          <pc:sldMk cId="4055395955" sldId="2147479193"/>
        </pc:sldMkLst>
      </pc:sldChg>
      <pc:sldChg chg="addSp modSp new mod modTransition">
        <pc:chgData name="Koen Verbeeck" userId="24d0e79a7fd977da" providerId="LiveId" clId="{2915C232-C127-43C9-B354-7AEAA8B11E4E}" dt="2024-03-31T20:11:13.741" v="6615"/>
        <pc:sldMkLst>
          <pc:docMk/>
          <pc:sldMk cId="3078374174" sldId="2147479194"/>
        </pc:sldMkLst>
        <pc:spChg chg="mod">
          <ac:chgData name="Koen Verbeeck" userId="24d0e79a7fd977da" providerId="LiveId" clId="{2915C232-C127-43C9-B354-7AEAA8B11E4E}" dt="2024-03-17T15:08:31.001" v="2072" actId="20577"/>
          <ac:spMkLst>
            <pc:docMk/>
            <pc:sldMk cId="3078374174" sldId="2147479194"/>
            <ac:spMk id="2" creationId="{6C1442F1-FBFD-4B97-3B23-6D517BB8514B}"/>
          </ac:spMkLst>
        </pc:spChg>
        <pc:spChg chg="add mod">
          <ac:chgData name="Koen Verbeeck" userId="24d0e79a7fd977da" providerId="LiveId" clId="{2915C232-C127-43C9-B354-7AEAA8B11E4E}" dt="2024-03-17T15:09:22.754" v="2074" actId="1076"/>
          <ac:spMkLst>
            <pc:docMk/>
            <pc:sldMk cId="3078374174" sldId="2147479194"/>
            <ac:spMk id="4" creationId="{C3ACB451-40C1-8A36-2F7F-925EE4C3CBFE}"/>
          </ac:spMkLst>
        </pc:spChg>
        <pc:picChg chg="add mod">
          <ac:chgData name="Koen Verbeeck" userId="24d0e79a7fd977da" providerId="LiveId" clId="{2915C232-C127-43C9-B354-7AEAA8B11E4E}" dt="2024-03-17T15:09:15.513" v="2073"/>
          <ac:picMkLst>
            <pc:docMk/>
            <pc:sldMk cId="3078374174" sldId="2147479194"/>
            <ac:picMk id="3" creationId="{D4CC0F60-1765-D86F-376C-0F03BE4CCDF9}"/>
          </ac:picMkLst>
        </pc:picChg>
      </pc:sldChg>
      <pc:sldChg chg="modSp add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1491774400" sldId="2147479195"/>
        </pc:sldMkLst>
        <pc:spChg chg="mod ord">
          <ac:chgData name="Koen Verbeeck" userId="24d0e79a7fd977da" providerId="LiveId" clId="{2915C232-C127-43C9-B354-7AEAA8B11E4E}" dt="2024-03-17T15:10:12.247" v="2077" actId="700"/>
          <ac:spMkLst>
            <pc:docMk/>
            <pc:sldMk cId="1491774400" sldId="2147479195"/>
            <ac:spMk id="12" creationId="{4118D94C-15E2-B492-548E-21D591FF2AA8}"/>
          </ac:spMkLst>
        </pc:spChg>
        <pc:spChg chg="mod ord">
          <ac:chgData name="Koen Verbeeck" userId="24d0e79a7fd977da" providerId="LiveId" clId="{2915C232-C127-43C9-B354-7AEAA8B11E4E}" dt="2024-03-17T15:10:20.539" v="2079" actId="1076"/>
          <ac:spMkLst>
            <pc:docMk/>
            <pc:sldMk cId="1491774400" sldId="2147479195"/>
            <ac:spMk id="13" creationId="{0A925C7F-DC41-244E-985A-B5DACDDC487B}"/>
          </ac:spMkLst>
        </pc:spChg>
      </pc:sldChg>
      <pc:sldChg chg="modSp new mod modTransition">
        <pc:chgData name="Koen Verbeeck" userId="24d0e79a7fd977da" providerId="LiveId" clId="{2915C232-C127-43C9-B354-7AEAA8B11E4E}" dt="2024-03-31T20:11:13.741" v="6615"/>
        <pc:sldMkLst>
          <pc:docMk/>
          <pc:sldMk cId="3348280717" sldId="2147479196"/>
        </pc:sldMkLst>
        <pc:spChg chg="mod">
          <ac:chgData name="Koen Verbeeck" userId="24d0e79a7fd977da" providerId="LiveId" clId="{2915C232-C127-43C9-B354-7AEAA8B11E4E}" dt="2024-03-17T15:31:35.266" v="2268" actId="20577"/>
          <ac:spMkLst>
            <pc:docMk/>
            <pc:sldMk cId="3348280717" sldId="2147479196"/>
            <ac:spMk id="2" creationId="{28DD0474-C3FE-07C8-DF97-3A73B2A74458}"/>
          </ac:spMkLst>
        </pc:spChg>
        <pc:spChg chg="mod">
          <ac:chgData name="Koen Verbeeck" userId="24d0e79a7fd977da" providerId="LiveId" clId="{2915C232-C127-43C9-B354-7AEAA8B11E4E}" dt="2024-03-17T15:22:33.682" v="2239" actId="20577"/>
          <ac:spMkLst>
            <pc:docMk/>
            <pc:sldMk cId="3348280717" sldId="2147479196"/>
            <ac:spMk id="3" creationId="{6AC95011-866E-6B8C-963D-2C1FA0361E3D}"/>
          </ac:spMkLst>
        </pc:spChg>
      </pc:sldChg>
      <pc:sldChg chg="addSp delSp modSp new mod modTransition modClrScheme modAnim chgLayout">
        <pc:chgData name="Koen Verbeeck" userId="24d0e79a7fd977da" providerId="LiveId" clId="{2915C232-C127-43C9-B354-7AEAA8B11E4E}" dt="2024-03-31T20:11:13.741" v="6615"/>
        <pc:sldMkLst>
          <pc:docMk/>
          <pc:sldMk cId="3774574104" sldId="2147479197"/>
        </pc:sldMkLst>
        <pc:spChg chg="del mod ord">
          <ac:chgData name="Koen Verbeeck" userId="24d0e79a7fd977da" providerId="LiveId" clId="{2915C232-C127-43C9-B354-7AEAA8B11E4E}" dt="2024-03-25T07:39:54.870" v="2274" actId="700"/>
          <ac:spMkLst>
            <pc:docMk/>
            <pc:sldMk cId="3774574104" sldId="2147479197"/>
            <ac:spMk id="2" creationId="{8819DDC6-2222-63AC-25EB-6879CACC1A90}"/>
          </ac:spMkLst>
        </pc:spChg>
        <pc:spChg chg="del mod ord">
          <ac:chgData name="Koen Verbeeck" userId="24d0e79a7fd977da" providerId="LiveId" clId="{2915C232-C127-43C9-B354-7AEAA8B11E4E}" dt="2024-03-25T07:39:54.870" v="2274" actId="700"/>
          <ac:spMkLst>
            <pc:docMk/>
            <pc:sldMk cId="3774574104" sldId="2147479197"/>
            <ac:spMk id="3" creationId="{3FB1E543-F0E1-D189-1798-AA8BE5CD87BB}"/>
          </ac:spMkLst>
        </pc:spChg>
        <pc:spChg chg="add mod ord">
          <ac:chgData name="Koen Verbeeck" userId="24d0e79a7fd977da" providerId="LiveId" clId="{2915C232-C127-43C9-B354-7AEAA8B11E4E}" dt="2024-03-25T07:40:01.065" v="2291" actId="20577"/>
          <ac:spMkLst>
            <pc:docMk/>
            <pc:sldMk cId="3774574104" sldId="2147479197"/>
            <ac:spMk id="4" creationId="{F936139F-F221-F0EE-F870-622D560F5B74}"/>
          </ac:spMkLst>
        </pc:spChg>
        <pc:spChg chg="add del mod ord">
          <ac:chgData name="Koen Verbeeck" userId="24d0e79a7fd977da" providerId="LiveId" clId="{2915C232-C127-43C9-B354-7AEAA8B11E4E}" dt="2024-03-25T07:42:43.714" v="2292" actId="478"/>
          <ac:spMkLst>
            <pc:docMk/>
            <pc:sldMk cId="3774574104" sldId="2147479197"/>
            <ac:spMk id="5" creationId="{5FA26509-8BC4-A773-033A-386737A4D9D3}"/>
          </ac:spMkLst>
        </pc:spChg>
        <pc:spChg chg="add mod">
          <ac:chgData name="Koen Verbeeck" userId="24d0e79a7fd977da" providerId="LiveId" clId="{2915C232-C127-43C9-B354-7AEAA8B11E4E}" dt="2024-03-25T07:50:54.751" v="2355" actId="12788"/>
          <ac:spMkLst>
            <pc:docMk/>
            <pc:sldMk cId="3774574104" sldId="2147479197"/>
            <ac:spMk id="8" creationId="{A058721D-0094-1FB0-C51B-49FBBDE7B1B9}"/>
          </ac:spMkLst>
        </pc:spChg>
        <pc:spChg chg="add mod">
          <ac:chgData name="Koen Verbeeck" userId="24d0e79a7fd977da" providerId="LiveId" clId="{2915C232-C127-43C9-B354-7AEAA8B11E4E}" dt="2024-03-25T07:48:18.848" v="2331" actId="1076"/>
          <ac:spMkLst>
            <pc:docMk/>
            <pc:sldMk cId="3774574104" sldId="2147479197"/>
            <ac:spMk id="9" creationId="{E0EA216B-286D-530E-CF8E-62C8E6DD6654}"/>
          </ac:spMkLst>
        </pc:spChg>
        <pc:spChg chg="add mod">
          <ac:chgData name="Koen Verbeeck" userId="24d0e79a7fd977da" providerId="LiveId" clId="{2915C232-C127-43C9-B354-7AEAA8B11E4E}" dt="2024-03-25T07:50:54.751" v="2355" actId="12788"/>
          <ac:spMkLst>
            <pc:docMk/>
            <pc:sldMk cId="3774574104" sldId="2147479197"/>
            <ac:spMk id="10" creationId="{27DBB1DD-1390-7CFE-1B23-60C73FF39E82}"/>
          </ac:spMkLst>
        </pc:spChg>
        <pc:spChg chg="add mod">
          <ac:chgData name="Koen Verbeeck" userId="24d0e79a7fd977da" providerId="LiveId" clId="{2915C232-C127-43C9-B354-7AEAA8B11E4E}" dt="2024-03-25T07:50:54.751" v="2355" actId="12788"/>
          <ac:spMkLst>
            <pc:docMk/>
            <pc:sldMk cId="3774574104" sldId="2147479197"/>
            <ac:spMk id="11" creationId="{0082FE77-2938-0686-76C5-6B4E709123E7}"/>
          </ac:spMkLst>
        </pc:spChg>
        <pc:spChg chg="add mod">
          <ac:chgData name="Koen Verbeeck" userId="24d0e79a7fd977da" providerId="LiveId" clId="{2915C232-C127-43C9-B354-7AEAA8B11E4E}" dt="2024-03-25T07:52:53.418" v="2360" actId="12788"/>
          <ac:spMkLst>
            <pc:docMk/>
            <pc:sldMk cId="3774574104" sldId="2147479197"/>
            <ac:spMk id="12" creationId="{72FD43F5-F9AE-AEE5-3AF7-B5674C590FB6}"/>
          </ac:spMkLst>
        </pc:spChg>
        <pc:spChg chg="add mod">
          <ac:chgData name="Koen Verbeeck" userId="24d0e79a7fd977da" providerId="LiveId" clId="{2915C232-C127-43C9-B354-7AEAA8B11E4E}" dt="2024-03-25T07:52:53.418" v="2360" actId="12788"/>
          <ac:spMkLst>
            <pc:docMk/>
            <pc:sldMk cId="3774574104" sldId="2147479197"/>
            <ac:spMk id="14" creationId="{E8FCE946-CF74-799B-F488-7DC53982AB15}"/>
          </ac:spMkLst>
        </pc:spChg>
        <pc:picChg chg="add mod">
          <ac:chgData name="Koen Verbeeck" userId="24d0e79a7fd977da" providerId="LiveId" clId="{2915C232-C127-43C9-B354-7AEAA8B11E4E}" dt="2024-03-25T07:50:54.751" v="2355" actId="12788"/>
          <ac:picMkLst>
            <pc:docMk/>
            <pc:sldMk cId="3774574104" sldId="2147479197"/>
            <ac:picMk id="6" creationId="{FC33E3EF-7803-B523-AD43-65524978B56A}"/>
          </ac:picMkLst>
        </pc:picChg>
        <pc:picChg chg="add mod">
          <ac:chgData name="Koen Verbeeck" userId="24d0e79a7fd977da" providerId="LiveId" clId="{2915C232-C127-43C9-B354-7AEAA8B11E4E}" dt="2024-03-25T07:48:18.848" v="2331" actId="1076"/>
          <ac:picMkLst>
            <pc:docMk/>
            <pc:sldMk cId="3774574104" sldId="2147479197"/>
            <ac:picMk id="7" creationId="{E7F931B0-9292-DDE1-5E5E-1FA718741B97}"/>
          </ac:picMkLst>
        </pc:picChg>
        <pc:picChg chg="add mod">
          <ac:chgData name="Koen Verbeeck" userId="24d0e79a7fd977da" providerId="LiveId" clId="{2915C232-C127-43C9-B354-7AEAA8B11E4E}" dt="2024-03-25T07:52:53.418" v="2360" actId="12788"/>
          <ac:picMkLst>
            <pc:docMk/>
            <pc:sldMk cId="3774574104" sldId="2147479197"/>
            <ac:picMk id="13" creationId="{9E9FFF1A-100C-1A03-F5EF-AFF6732A6184}"/>
          </ac:picMkLst>
        </pc:picChg>
        <pc:picChg chg="add mod">
          <ac:chgData name="Koen Verbeeck" userId="24d0e79a7fd977da" providerId="LiveId" clId="{2915C232-C127-43C9-B354-7AEAA8B11E4E}" dt="2024-03-25T07:52:03.057" v="2358" actId="1076"/>
          <ac:picMkLst>
            <pc:docMk/>
            <pc:sldMk cId="3774574104" sldId="2147479197"/>
            <ac:picMk id="15" creationId="{30D24507-8C08-55C0-BD98-D10BF50625C3}"/>
          </ac:picMkLst>
        </pc:picChg>
        <pc:picChg chg="add mod">
          <ac:chgData name="Koen Verbeeck" userId="24d0e79a7fd977da" providerId="LiveId" clId="{2915C232-C127-43C9-B354-7AEAA8B11E4E}" dt="2024-03-25T07:55:01.427" v="2363"/>
          <ac:picMkLst>
            <pc:docMk/>
            <pc:sldMk cId="3774574104" sldId="2147479197"/>
            <ac:picMk id="16" creationId="{BA3EEC03-0410-CF58-00D8-5B3061C3F8DD}"/>
          </ac:picMkLst>
        </pc:picChg>
      </pc:sldChg>
      <pc:sldChg chg="add modTransition">
        <pc:chgData name="Koen Verbeeck" userId="24d0e79a7fd977da" providerId="LiveId" clId="{2915C232-C127-43C9-B354-7AEAA8B11E4E}" dt="2024-03-31T20:11:13.741" v="6615"/>
        <pc:sldMkLst>
          <pc:docMk/>
          <pc:sldMk cId="1401485941" sldId="2147479198"/>
        </pc:sldMkLst>
      </pc:sldChg>
      <pc:sldChg chg="modSp new mod modTransition modAnim">
        <pc:chgData name="Koen Verbeeck" userId="24d0e79a7fd977da" providerId="LiveId" clId="{2915C232-C127-43C9-B354-7AEAA8B11E4E}" dt="2024-03-31T20:25:55.215" v="6735"/>
        <pc:sldMkLst>
          <pc:docMk/>
          <pc:sldMk cId="528637558" sldId="2147479199"/>
        </pc:sldMkLst>
        <pc:spChg chg="mod">
          <ac:chgData name="Koen Verbeeck" userId="24d0e79a7fd977da" providerId="LiveId" clId="{2915C232-C127-43C9-B354-7AEAA8B11E4E}" dt="2024-03-25T08:02:19.090" v="2380" actId="20577"/>
          <ac:spMkLst>
            <pc:docMk/>
            <pc:sldMk cId="528637558" sldId="2147479199"/>
            <ac:spMk id="2" creationId="{7DC1CBC8-FDF7-B9FD-9F2D-CF179B77CF41}"/>
          </ac:spMkLst>
        </pc:spChg>
        <pc:spChg chg="mod">
          <ac:chgData name="Koen Verbeeck" userId="24d0e79a7fd977da" providerId="LiveId" clId="{2915C232-C127-43C9-B354-7AEAA8B11E4E}" dt="2024-03-31T20:25:15.927" v="6727" actId="403"/>
          <ac:spMkLst>
            <pc:docMk/>
            <pc:sldMk cId="528637558" sldId="2147479199"/>
            <ac:spMk id="3" creationId="{36D90520-D08E-FA5D-3A7A-D631285920B4}"/>
          </ac:spMkLst>
        </pc:spChg>
      </pc:sldChg>
      <pc:sldChg chg="modSp new mod modTransition modAnim">
        <pc:chgData name="Koen Verbeeck" userId="24d0e79a7fd977da" providerId="LiveId" clId="{2915C232-C127-43C9-B354-7AEAA8B11E4E}" dt="2024-03-31T20:27:02.819" v="6748"/>
        <pc:sldMkLst>
          <pc:docMk/>
          <pc:sldMk cId="780797957" sldId="2147479200"/>
        </pc:sldMkLst>
        <pc:spChg chg="mod">
          <ac:chgData name="Koen Verbeeck" userId="24d0e79a7fd977da" providerId="LiveId" clId="{2915C232-C127-43C9-B354-7AEAA8B11E4E}" dt="2024-03-25T08:08:06.758" v="2728" actId="20577"/>
          <ac:spMkLst>
            <pc:docMk/>
            <pc:sldMk cId="780797957" sldId="2147479200"/>
            <ac:spMk id="2" creationId="{827C2A24-EF47-CD5D-6218-8C0332DD4E24}"/>
          </ac:spMkLst>
        </pc:spChg>
        <pc:spChg chg="mod">
          <ac:chgData name="Koen Verbeeck" userId="24d0e79a7fd977da" providerId="LiveId" clId="{2915C232-C127-43C9-B354-7AEAA8B11E4E}" dt="2024-03-31T20:26:34.831" v="6740" actId="20577"/>
          <ac:spMkLst>
            <pc:docMk/>
            <pc:sldMk cId="780797957" sldId="2147479200"/>
            <ac:spMk id="3" creationId="{F213BA09-9E39-9FE8-6118-9A747E1F9521}"/>
          </ac:spMkLst>
        </pc:spChg>
      </pc:sldChg>
      <pc:sldChg chg="addSp delSp modSp new mod modTransition modAnim">
        <pc:chgData name="Koen Verbeeck" userId="24d0e79a7fd977da" providerId="LiveId" clId="{2915C232-C127-43C9-B354-7AEAA8B11E4E}" dt="2024-03-31T20:11:13.741" v="6615"/>
        <pc:sldMkLst>
          <pc:docMk/>
          <pc:sldMk cId="1588850713" sldId="2147479201"/>
        </pc:sldMkLst>
        <pc:spChg chg="mod">
          <ac:chgData name="Koen Verbeeck" userId="24d0e79a7fd977da" providerId="LiveId" clId="{2915C232-C127-43C9-B354-7AEAA8B11E4E}" dt="2024-03-25T08:16:10.666" v="3384" actId="20577"/>
          <ac:spMkLst>
            <pc:docMk/>
            <pc:sldMk cId="1588850713" sldId="2147479201"/>
            <ac:spMk id="2" creationId="{176AB086-84D2-534E-1B45-9B6EAEDA3826}"/>
          </ac:spMkLst>
        </pc:spChg>
        <pc:spChg chg="mod">
          <ac:chgData name="Koen Verbeeck" userId="24d0e79a7fd977da" providerId="LiveId" clId="{2915C232-C127-43C9-B354-7AEAA8B11E4E}" dt="2024-03-25T08:15:53.721" v="3348" actId="14"/>
          <ac:spMkLst>
            <pc:docMk/>
            <pc:sldMk cId="1588850713" sldId="2147479201"/>
            <ac:spMk id="3" creationId="{B0638B29-E231-1E8F-7279-564EE5D89345}"/>
          </ac:spMkLst>
        </pc:spChg>
        <pc:spChg chg="add mod">
          <ac:chgData name="Koen Verbeeck" userId="24d0e79a7fd977da" providerId="LiveId" clId="{2915C232-C127-43C9-B354-7AEAA8B11E4E}" dt="2024-03-25T13:13:43.745" v="4350" actId="1076"/>
          <ac:spMkLst>
            <pc:docMk/>
            <pc:sldMk cId="1588850713" sldId="2147479201"/>
            <ac:spMk id="5" creationId="{2140FAC1-E868-5D72-33F9-ED26B03E1227}"/>
          </ac:spMkLst>
        </pc:spChg>
        <pc:spChg chg="add mod">
          <ac:chgData name="Koen Verbeeck" userId="24d0e79a7fd977da" providerId="LiveId" clId="{2915C232-C127-43C9-B354-7AEAA8B11E4E}" dt="2024-03-25T13:13:43.745" v="4350" actId="1076"/>
          <ac:spMkLst>
            <pc:docMk/>
            <pc:sldMk cId="1588850713" sldId="2147479201"/>
            <ac:spMk id="7" creationId="{769FBB10-785A-2645-B8E4-891DD050F49C}"/>
          </ac:spMkLst>
        </pc:spChg>
        <pc:spChg chg="add mod">
          <ac:chgData name="Koen Verbeeck" userId="24d0e79a7fd977da" providerId="LiveId" clId="{2915C232-C127-43C9-B354-7AEAA8B11E4E}" dt="2024-03-25T13:21:37.481" v="4529" actId="1076"/>
          <ac:spMkLst>
            <pc:docMk/>
            <pc:sldMk cId="1588850713" sldId="2147479201"/>
            <ac:spMk id="13" creationId="{6B102FA5-64BF-341B-ACBC-0D38568F69CC}"/>
          </ac:spMkLst>
        </pc:spChg>
        <pc:spChg chg="add mod">
          <ac:chgData name="Koen Verbeeck" userId="24d0e79a7fd977da" providerId="LiveId" clId="{2915C232-C127-43C9-B354-7AEAA8B11E4E}" dt="2024-03-25T13:21:42.132" v="4531" actId="1076"/>
          <ac:spMkLst>
            <pc:docMk/>
            <pc:sldMk cId="1588850713" sldId="2147479201"/>
            <ac:spMk id="14" creationId="{DF163C4D-966B-0974-FDBB-CD9116A5F4B4}"/>
          </ac:spMkLst>
        </pc:spChg>
        <pc:spChg chg="add mod">
          <ac:chgData name="Koen Verbeeck" userId="24d0e79a7fd977da" providerId="LiveId" clId="{2915C232-C127-43C9-B354-7AEAA8B11E4E}" dt="2024-03-25T13:24:02.034" v="4580" actId="1035"/>
          <ac:spMkLst>
            <pc:docMk/>
            <pc:sldMk cId="1588850713" sldId="2147479201"/>
            <ac:spMk id="15" creationId="{D2744418-0B52-0746-4DD4-DA0272BFC72F}"/>
          </ac:spMkLst>
        </pc:spChg>
        <pc:spChg chg="add mod">
          <ac:chgData name="Koen Verbeeck" userId="24d0e79a7fd977da" providerId="LiveId" clId="{2915C232-C127-43C9-B354-7AEAA8B11E4E}" dt="2024-03-25T13:23:59.436" v="4579" actId="1036"/>
          <ac:spMkLst>
            <pc:docMk/>
            <pc:sldMk cId="1588850713" sldId="2147479201"/>
            <ac:spMk id="16" creationId="{73387A04-8CB9-DAD7-7653-495492BD6CF9}"/>
          </ac:spMkLst>
        </pc:spChg>
        <pc:graphicFrameChg chg="add mod modGraphic">
          <ac:chgData name="Koen Verbeeck" userId="24d0e79a7fd977da" providerId="LiveId" clId="{2915C232-C127-43C9-B354-7AEAA8B11E4E}" dt="2024-03-25T13:13:43.745" v="4350" actId="1076"/>
          <ac:graphicFrameMkLst>
            <pc:docMk/>
            <pc:sldMk cId="1588850713" sldId="2147479201"/>
            <ac:graphicFrameMk id="4" creationId="{25327FC6-EFC8-2E65-FFE7-B171257EA77A}"/>
          </ac:graphicFrameMkLst>
        </pc:graphicFrameChg>
        <pc:graphicFrameChg chg="add mod modGraphic">
          <ac:chgData name="Koen Verbeeck" userId="24d0e79a7fd977da" providerId="LiveId" clId="{2915C232-C127-43C9-B354-7AEAA8B11E4E}" dt="2024-03-25T13:13:43.745" v="4350" actId="1076"/>
          <ac:graphicFrameMkLst>
            <pc:docMk/>
            <pc:sldMk cId="1588850713" sldId="2147479201"/>
            <ac:graphicFrameMk id="6" creationId="{B62CBAF7-18C3-E74D-B4F8-7FB403DD9C48}"/>
          </ac:graphicFrameMkLst>
        </pc:graphicFrameChg>
        <pc:graphicFrameChg chg="add mod modGraphic">
          <ac:chgData name="Koen Verbeeck" userId="24d0e79a7fd977da" providerId="LiveId" clId="{2915C232-C127-43C9-B354-7AEAA8B11E4E}" dt="2024-03-25T13:13:48.073" v="4355" actId="20577"/>
          <ac:graphicFrameMkLst>
            <pc:docMk/>
            <pc:sldMk cId="1588850713" sldId="2147479201"/>
            <ac:graphicFrameMk id="8" creationId="{02D05BFC-1717-5039-9987-2C34B886BED8}"/>
          </ac:graphicFrameMkLst>
        </pc:graphicFrameChg>
        <pc:graphicFrameChg chg="add del mod modGraphic">
          <ac:chgData name="Koen Verbeeck" userId="24d0e79a7fd977da" providerId="LiveId" clId="{2915C232-C127-43C9-B354-7AEAA8B11E4E}" dt="2024-03-25T13:18:23.925" v="4464" actId="478"/>
          <ac:graphicFrameMkLst>
            <pc:docMk/>
            <pc:sldMk cId="1588850713" sldId="2147479201"/>
            <ac:graphicFrameMk id="9" creationId="{13C71D3A-6A67-7DBF-1431-B55D0FD53662}"/>
          </ac:graphicFrameMkLst>
        </pc:graphicFrameChg>
        <pc:graphicFrameChg chg="add mod modGraphic">
          <ac:chgData name="Koen Verbeeck" userId="24d0e79a7fd977da" providerId="LiveId" clId="{2915C232-C127-43C9-B354-7AEAA8B11E4E}" dt="2024-03-25T13:19:33.850" v="4492" actId="20577"/>
          <ac:graphicFrameMkLst>
            <pc:docMk/>
            <pc:sldMk cId="1588850713" sldId="2147479201"/>
            <ac:graphicFrameMk id="10" creationId="{5F6A9800-8E24-3E17-477D-2ABA4DB25C0A}"/>
          </ac:graphicFrameMkLst>
        </pc:graphicFrameChg>
        <pc:graphicFrameChg chg="add mod modGraphic">
          <ac:chgData name="Koen Verbeeck" userId="24d0e79a7fd977da" providerId="LiveId" clId="{2915C232-C127-43C9-B354-7AEAA8B11E4E}" dt="2024-03-25T13:18:33.688" v="4466" actId="6549"/>
          <ac:graphicFrameMkLst>
            <pc:docMk/>
            <pc:sldMk cId="1588850713" sldId="2147479201"/>
            <ac:graphicFrameMk id="11" creationId="{EDF2AA38-9274-D6A5-DEC3-8FECDB708415}"/>
          </ac:graphicFrameMkLst>
        </pc:graphicFrameChg>
        <pc:graphicFrameChg chg="add mod modGraphic">
          <ac:chgData name="Koen Verbeeck" userId="24d0e79a7fd977da" providerId="LiveId" clId="{2915C232-C127-43C9-B354-7AEAA8B11E4E}" dt="2024-03-25T13:20:10.211" v="4524" actId="20577"/>
          <ac:graphicFrameMkLst>
            <pc:docMk/>
            <pc:sldMk cId="1588850713" sldId="2147479201"/>
            <ac:graphicFrameMk id="12" creationId="{5B11CF76-F742-070E-8703-2DDE811102AC}"/>
          </ac:graphicFrameMkLst>
        </pc:graphicFrameChg>
      </pc:sldChg>
      <pc:sldChg chg="modSp new mod modTransition modAnim">
        <pc:chgData name="Koen Verbeeck" userId="24d0e79a7fd977da" providerId="LiveId" clId="{2915C232-C127-43C9-B354-7AEAA8B11E4E}" dt="2024-03-31T20:11:13.741" v="6615"/>
        <pc:sldMkLst>
          <pc:docMk/>
          <pc:sldMk cId="1842611518" sldId="2147479202"/>
        </pc:sldMkLst>
        <pc:spChg chg="mod">
          <ac:chgData name="Koen Verbeeck" userId="24d0e79a7fd977da" providerId="LiveId" clId="{2915C232-C127-43C9-B354-7AEAA8B11E4E}" dt="2024-03-25T08:18:14.474" v="3419" actId="20577"/>
          <ac:spMkLst>
            <pc:docMk/>
            <pc:sldMk cId="1842611518" sldId="2147479202"/>
            <ac:spMk id="2" creationId="{DB3829DA-4144-E394-4DC2-E59D3DCE696D}"/>
          </ac:spMkLst>
        </pc:spChg>
        <pc:spChg chg="mod">
          <ac:chgData name="Koen Verbeeck" userId="24d0e79a7fd977da" providerId="LiveId" clId="{2915C232-C127-43C9-B354-7AEAA8B11E4E}" dt="2024-03-25T08:25:11.462" v="3920" actId="20577"/>
          <ac:spMkLst>
            <pc:docMk/>
            <pc:sldMk cId="1842611518" sldId="2147479202"/>
            <ac:spMk id="3" creationId="{19E1D4E0-5211-CF6C-8587-4CFF18F45970}"/>
          </ac:spMkLst>
        </pc:spChg>
      </pc:sldChg>
      <pc:sldChg chg="addSp modSp new mod modTransition modAnim">
        <pc:chgData name="Koen Verbeeck" userId="24d0e79a7fd977da" providerId="LiveId" clId="{2915C232-C127-43C9-B354-7AEAA8B11E4E}" dt="2024-03-31T20:11:13.741" v="6615"/>
        <pc:sldMkLst>
          <pc:docMk/>
          <pc:sldMk cId="201928412" sldId="2147479203"/>
        </pc:sldMkLst>
        <pc:spChg chg="mod">
          <ac:chgData name="Koen Verbeeck" userId="24d0e79a7fd977da" providerId="LiveId" clId="{2915C232-C127-43C9-B354-7AEAA8B11E4E}" dt="2024-03-25T08:24:31.090" v="3853" actId="20577"/>
          <ac:spMkLst>
            <pc:docMk/>
            <pc:sldMk cId="201928412" sldId="2147479203"/>
            <ac:spMk id="2" creationId="{5B5834C6-6C42-2B09-A23C-CC6BAFC90724}"/>
          </ac:spMkLst>
        </pc:spChg>
        <pc:spChg chg="mod">
          <ac:chgData name="Koen Verbeeck" userId="24d0e79a7fd977da" providerId="LiveId" clId="{2915C232-C127-43C9-B354-7AEAA8B11E4E}" dt="2024-03-25T10:52:49.225" v="4085" actId="6549"/>
          <ac:spMkLst>
            <pc:docMk/>
            <pc:sldMk cId="201928412" sldId="2147479203"/>
            <ac:spMk id="3" creationId="{F7F736B8-583A-4246-F63D-6523F81591F7}"/>
          </ac:spMkLst>
        </pc:spChg>
        <pc:picChg chg="add mod">
          <ac:chgData name="Koen Verbeeck" userId="24d0e79a7fd977da" providerId="LiveId" clId="{2915C232-C127-43C9-B354-7AEAA8B11E4E}" dt="2024-03-25T08:27:20.507" v="4048" actId="1076"/>
          <ac:picMkLst>
            <pc:docMk/>
            <pc:sldMk cId="201928412" sldId="2147479203"/>
            <ac:picMk id="1026" creationId="{6CC2A0A1-DC9D-BEB0-3DB8-5486C354272B}"/>
          </ac:picMkLst>
        </pc:picChg>
      </pc:sldChg>
      <pc:sldChg chg="modSp new mod modTransition modAnim">
        <pc:chgData name="Koen Verbeeck" userId="24d0e79a7fd977da" providerId="LiveId" clId="{2915C232-C127-43C9-B354-7AEAA8B11E4E}" dt="2024-03-31T20:28:25.037" v="6750"/>
        <pc:sldMkLst>
          <pc:docMk/>
          <pc:sldMk cId="3050100775" sldId="2147479204"/>
        </pc:sldMkLst>
        <pc:spChg chg="mod">
          <ac:chgData name="Koen Verbeeck" userId="24d0e79a7fd977da" providerId="LiveId" clId="{2915C232-C127-43C9-B354-7AEAA8B11E4E}" dt="2024-03-25T10:53:02.275" v="4094" actId="20577"/>
          <ac:spMkLst>
            <pc:docMk/>
            <pc:sldMk cId="3050100775" sldId="2147479204"/>
            <ac:spMk id="2" creationId="{C22DBD6B-020D-C973-7D7C-F7E2C164D15D}"/>
          </ac:spMkLst>
        </pc:spChg>
        <pc:spChg chg="mod">
          <ac:chgData name="Koen Verbeeck" userId="24d0e79a7fd977da" providerId="LiveId" clId="{2915C232-C127-43C9-B354-7AEAA8B11E4E}" dt="2024-03-25T10:55:41.735" v="4319" actId="20577"/>
          <ac:spMkLst>
            <pc:docMk/>
            <pc:sldMk cId="3050100775" sldId="2147479204"/>
            <ac:spMk id="3" creationId="{C96D03BE-A57F-6A51-35C1-608C51C6564B}"/>
          </ac:spMkLst>
        </pc:spChg>
      </pc:sldChg>
      <pc:sldChg chg="delSp modSp add mod modTransition delAnim">
        <pc:chgData name="Koen Verbeeck" userId="24d0e79a7fd977da" providerId="LiveId" clId="{2915C232-C127-43C9-B354-7AEAA8B11E4E}" dt="2024-03-31T20:11:13.741" v="6615"/>
        <pc:sldMkLst>
          <pc:docMk/>
          <pc:sldMk cId="3637547467" sldId="2147479205"/>
        </pc:sldMkLst>
        <pc:spChg chg="mod">
          <ac:chgData name="Koen Verbeeck" userId="24d0e79a7fd977da" providerId="LiveId" clId="{2915C232-C127-43C9-B354-7AEAA8B11E4E}" dt="2024-03-25T13:26:40.901" v="4688" actId="20577"/>
          <ac:spMkLst>
            <pc:docMk/>
            <pc:sldMk cId="3637547467" sldId="2147479205"/>
            <ac:spMk id="3" creationId="{B0638B29-E231-1E8F-7279-564EE5D89345}"/>
          </ac:spMkLst>
        </pc:spChg>
        <pc:spChg chg="del">
          <ac:chgData name="Koen Verbeeck" userId="24d0e79a7fd977da" providerId="LiveId" clId="{2915C232-C127-43C9-B354-7AEAA8B11E4E}" dt="2024-03-25T13:25:19.115" v="4587" actId="478"/>
          <ac:spMkLst>
            <pc:docMk/>
            <pc:sldMk cId="3637547467" sldId="2147479205"/>
            <ac:spMk id="15" creationId="{D2744418-0B52-0746-4DD4-DA0272BFC72F}"/>
          </ac:spMkLst>
        </pc:spChg>
        <pc:spChg chg="del">
          <ac:chgData name="Koen Verbeeck" userId="24d0e79a7fd977da" providerId="LiveId" clId="{2915C232-C127-43C9-B354-7AEAA8B11E4E}" dt="2024-03-25T13:25:21.140" v="4588" actId="478"/>
          <ac:spMkLst>
            <pc:docMk/>
            <pc:sldMk cId="3637547467" sldId="2147479205"/>
            <ac:spMk id="16" creationId="{73387A04-8CB9-DAD7-7653-495492BD6CF9}"/>
          </ac:spMkLst>
        </pc:spChg>
        <pc:graphicFrameChg chg="modGraphic">
          <ac:chgData name="Koen Verbeeck" userId="24d0e79a7fd977da" providerId="LiveId" clId="{2915C232-C127-43C9-B354-7AEAA8B11E4E}" dt="2024-03-25T13:26:05.970" v="4600" actId="207"/>
          <ac:graphicFrameMkLst>
            <pc:docMk/>
            <pc:sldMk cId="3637547467" sldId="2147479205"/>
            <ac:graphicFrameMk id="12" creationId="{5B11CF76-F742-070E-8703-2DDE811102AC}"/>
          </ac:graphicFrameMkLst>
        </pc:graphicFrameChg>
      </pc:sldChg>
      <pc:sldChg chg="add modTransition">
        <pc:chgData name="Koen Verbeeck" userId="24d0e79a7fd977da" providerId="LiveId" clId="{2915C232-C127-43C9-B354-7AEAA8B11E4E}" dt="2024-03-31T20:11:13.741" v="6615"/>
        <pc:sldMkLst>
          <pc:docMk/>
          <pc:sldMk cId="302178584" sldId="2147479206"/>
        </pc:sldMkLst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427849722" sldId="2147479207"/>
        </pc:sldMkLst>
        <pc:spChg chg="del mod ord">
          <ac:chgData name="Koen Verbeeck" userId="24d0e79a7fd977da" providerId="LiveId" clId="{2915C232-C127-43C9-B354-7AEAA8B11E4E}" dt="2024-03-25T13:28:24.780" v="4691" actId="700"/>
          <ac:spMkLst>
            <pc:docMk/>
            <pc:sldMk cId="427849722" sldId="2147479207"/>
            <ac:spMk id="2" creationId="{A196D42F-2903-FE26-1C2D-86CFEFB468BA}"/>
          </ac:spMkLst>
        </pc:spChg>
        <pc:spChg chg="del mod ord">
          <ac:chgData name="Koen Verbeeck" userId="24d0e79a7fd977da" providerId="LiveId" clId="{2915C232-C127-43C9-B354-7AEAA8B11E4E}" dt="2024-03-25T13:28:24.780" v="4691" actId="700"/>
          <ac:spMkLst>
            <pc:docMk/>
            <pc:sldMk cId="427849722" sldId="2147479207"/>
            <ac:spMk id="3" creationId="{DEE16C7E-99B0-C107-098D-7260D1A810B6}"/>
          </ac:spMkLst>
        </pc:spChg>
        <pc:spChg chg="add mod ord">
          <ac:chgData name="Koen Verbeeck" userId="24d0e79a7fd977da" providerId="LiveId" clId="{2915C232-C127-43C9-B354-7AEAA8B11E4E}" dt="2024-03-25T13:28:33.626" v="4699" actId="20577"/>
          <ac:spMkLst>
            <pc:docMk/>
            <pc:sldMk cId="427849722" sldId="2147479207"/>
            <ac:spMk id="4" creationId="{C0225E21-0573-7869-687F-FCE8FAA0C2B7}"/>
          </ac:spMkLst>
        </pc:spChg>
        <pc:spChg chg="add del mod ord">
          <ac:chgData name="Koen Verbeeck" userId="24d0e79a7fd977da" providerId="LiveId" clId="{2915C232-C127-43C9-B354-7AEAA8B11E4E}" dt="2024-03-25T13:28:56.306" v="4702" actId="478"/>
          <ac:spMkLst>
            <pc:docMk/>
            <pc:sldMk cId="427849722" sldId="2147479207"/>
            <ac:spMk id="5" creationId="{137CD079-9D40-184B-8170-4E45EA900584}"/>
          </ac:spMkLst>
        </pc:spChg>
        <pc:picChg chg="add mod">
          <ac:chgData name="Koen Verbeeck" userId="24d0e79a7fd977da" providerId="LiveId" clId="{2915C232-C127-43C9-B354-7AEAA8B11E4E}" dt="2024-03-25T13:28:53.091" v="4701" actId="1076"/>
          <ac:picMkLst>
            <pc:docMk/>
            <pc:sldMk cId="427849722" sldId="2147479207"/>
            <ac:picMk id="6" creationId="{AB09D874-90E2-1680-094F-5E16AD4F5982}"/>
          </ac:picMkLst>
        </pc:picChg>
      </pc:sldChg>
      <pc:sldChg chg="addSp delSp modSp new mod modTransition">
        <pc:chgData name="Koen Verbeeck" userId="24d0e79a7fd977da" providerId="LiveId" clId="{2915C232-C127-43C9-B354-7AEAA8B11E4E}" dt="2024-03-31T20:33:35.262" v="6778" actId="1076"/>
        <pc:sldMkLst>
          <pc:docMk/>
          <pc:sldMk cId="3682877416" sldId="2147479208"/>
        </pc:sldMkLst>
        <pc:spChg chg="mod">
          <ac:chgData name="Koen Verbeeck" userId="24d0e79a7fd977da" providerId="LiveId" clId="{2915C232-C127-43C9-B354-7AEAA8B11E4E}" dt="2024-03-25T13:29:11.970" v="4711" actId="20577"/>
          <ac:spMkLst>
            <pc:docMk/>
            <pc:sldMk cId="3682877416" sldId="2147479208"/>
            <ac:spMk id="2" creationId="{78838213-5A9A-A871-8B92-907000BFE867}"/>
          </ac:spMkLst>
        </pc:spChg>
        <pc:spChg chg="mod">
          <ac:chgData name="Koen Verbeeck" userId="24d0e79a7fd977da" providerId="LiveId" clId="{2915C232-C127-43C9-B354-7AEAA8B11E4E}" dt="2024-03-31T20:33:07.846" v="6774" actId="20577"/>
          <ac:spMkLst>
            <pc:docMk/>
            <pc:sldMk cId="3682877416" sldId="2147479208"/>
            <ac:spMk id="3" creationId="{C8598C71-804D-70A9-F633-F719ACFF5963}"/>
          </ac:spMkLst>
        </pc:spChg>
        <pc:picChg chg="add del mod">
          <ac:chgData name="Koen Verbeeck" userId="24d0e79a7fd977da" providerId="LiveId" clId="{2915C232-C127-43C9-B354-7AEAA8B11E4E}" dt="2024-03-25T13:33:57.048" v="5084" actId="21"/>
          <ac:picMkLst>
            <pc:docMk/>
            <pc:sldMk cId="3682877416" sldId="2147479208"/>
            <ac:picMk id="5" creationId="{1A81169F-5EC3-B29A-A659-2BF9BB09A8EB}"/>
          </ac:picMkLst>
        </pc:picChg>
        <pc:picChg chg="add mod">
          <ac:chgData name="Koen Verbeeck" userId="24d0e79a7fd977da" providerId="LiveId" clId="{2915C232-C127-43C9-B354-7AEAA8B11E4E}" dt="2024-03-31T20:33:35.262" v="6778" actId="1076"/>
          <ac:picMkLst>
            <pc:docMk/>
            <pc:sldMk cId="3682877416" sldId="2147479208"/>
            <ac:picMk id="6" creationId="{B892D60E-87BC-805A-1571-662B91C6D046}"/>
          </ac:picMkLst>
        </pc:picChg>
      </pc:sldChg>
      <pc:sldChg chg="modSp add mod modTransition modShow">
        <pc:chgData name="Koen Verbeeck" userId="24d0e79a7fd977da" providerId="LiveId" clId="{2915C232-C127-43C9-B354-7AEAA8B11E4E}" dt="2024-03-31T20:11:13.741" v="6615"/>
        <pc:sldMkLst>
          <pc:docMk/>
          <pc:sldMk cId="459148281" sldId="2147479209"/>
        </pc:sldMkLst>
        <pc:spChg chg="mod">
          <ac:chgData name="Koen Verbeeck" userId="24d0e79a7fd977da" providerId="LiveId" clId="{2915C232-C127-43C9-B354-7AEAA8B11E4E}" dt="2024-03-25T13:31:59.002" v="5045" actId="20577"/>
          <ac:spMkLst>
            <pc:docMk/>
            <pc:sldMk cId="459148281" sldId="2147479209"/>
            <ac:spMk id="3" creationId="{3D26A323-ADFE-A02B-E06E-9E5FC358A01F}"/>
          </ac:spMkLst>
        </pc:spChg>
      </pc:sldChg>
      <pc:sldChg chg="modSp add mod modTransition">
        <pc:chgData name="Koen Verbeeck" userId="24d0e79a7fd977da" providerId="LiveId" clId="{2915C232-C127-43C9-B354-7AEAA8B11E4E}" dt="2024-03-31T20:11:13.741" v="6615"/>
        <pc:sldMkLst>
          <pc:docMk/>
          <pc:sldMk cId="1180879746" sldId="2147479210"/>
        </pc:sldMkLst>
        <pc:spChg chg="mod">
          <ac:chgData name="Koen Verbeeck" userId="24d0e79a7fd977da" providerId="LiveId" clId="{2915C232-C127-43C9-B354-7AEAA8B11E4E}" dt="2024-03-25T13:32:35.029" v="5077" actId="14100"/>
          <ac:spMkLst>
            <pc:docMk/>
            <pc:sldMk cId="1180879746" sldId="2147479210"/>
            <ac:spMk id="3" creationId="{3D26A323-ADFE-A02B-E06E-9E5FC358A01F}"/>
          </ac:spMkLst>
        </pc:spChg>
      </pc:sldChg>
      <pc:sldChg chg="addSp delSp modSp new mod modTransition">
        <pc:chgData name="Koen Verbeeck" userId="24d0e79a7fd977da" providerId="LiveId" clId="{2915C232-C127-43C9-B354-7AEAA8B11E4E}" dt="2024-03-31T20:11:13.741" v="6615"/>
        <pc:sldMkLst>
          <pc:docMk/>
          <pc:sldMk cId="769392383" sldId="2147479211"/>
        </pc:sldMkLst>
        <pc:spChg chg="del">
          <ac:chgData name="Koen Verbeeck" userId="24d0e79a7fd977da" providerId="LiveId" clId="{2915C232-C127-43C9-B354-7AEAA8B11E4E}" dt="2024-03-25T13:34:03.593" v="5086" actId="478"/>
          <ac:spMkLst>
            <pc:docMk/>
            <pc:sldMk cId="769392383" sldId="2147479211"/>
            <ac:spMk id="2" creationId="{ACF2EE46-FFC0-C6F7-CFB1-0EEDF80E58BE}"/>
          </ac:spMkLst>
        </pc:spChg>
        <pc:spChg chg="del">
          <ac:chgData name="Koen Verbeeck" userId="24d0e79a7fd977da" providerId="LiveId" clId="{2915C232-C127-43C9-B354-7AEAA8B11E4E}" dt="2024-03-25T13:34:03.593" v="5086" actId="478"/>
          <ac:spMkLst>
            <pc:docMk/>
            <pc:sldMk cId="769392383" sldId="2147479211"/>
            <ac:spMk id="3" creationId="{A808D40B-DFDA-E89C-A65F-A37285083FF8}"/>
          </ac:spMkLst>
        </pc:spChg>
        <pc:picChg chg="add mod">
          <ac:chgData name="Koen Verbeeck" userId="24d0e79a7fd977da" providerId="LiveId" clId="{2915C232-C127-43C9-B354-7AEAA8B11E4E}" dt="2024-03-25T13:34:10.359" v="5089" actId="14100"/>
          <ac:picMkLst>
            <pc:docMk/>
            <pc:sldMk cId="769392383" sldId="2147479211"/>
            <ac:picMk id="5" creationId="{1A81169F-5EC3-B29A-A659-2BF9BB09A8EB}"/>
          </ac:picMkLst>
        </pc:picChg>
      </pc:sldChg>
      <pc:sldChg chg="modSp new mod modTransition">
        <pc:chgData name="Koen Verbeeck" userId="24d0e79a7fd977da" providerId="LiveId" clId="{2915C232-C127-43C9-B354-7AEAA8B11E4E}" dt="2024-03-31T20:11:13.741" v="6615"/>
        <pc:sldMkLst>
          <pc:docMk/>
          <pc:sldMk cId="1050327384" sldId="2147479212"/>
        </pc:sldMkLst>
        <pc:spChg chg="mod">
          <ac:chgData name="Koen Verbeeck" userId="24d0e79a7fd977da" providerId="LiveId" clId="{2915C232-C127-43C9-B354-7AEAA8B11E4E}" dt="2024-03-25T13:39:31.526" v="5109" actId="20577"/>
          <ac:spMkLst>
            <pc:docMk/>
            <pc:sldMk cId="1050327384" sldId="2147479212"/>
            <ac:spMk id="2" creationId="{80B71782-09D3-D61F-E9A8-2AF311F1F090}"/>
          </ac:spMkLst>
        </pc:spChg>
        <pc:spChg chg="mod">
          <ac:chgData name="Koen Verbeeck" userId="24d0e79a7fd977da" providerId="LiveId" clId="{2915C232-C127-43C9-B354-7AEAA8B11E4E}" dt="2024-03-25T13:39:33.593" v="5112"/>
          <ac:spMkLst>
            <pc:docMk/>
            <pc:sldMk cId="1050327384" sldId="2147479212"/>
            <ac:spMk id="3" creationId="{1424F9F8-F507-1F7B-560F-18BB6F3EF13E}"/>
          </ac:spMkLst>
        </pc:spChg>
      </pc:sldChg>
      <pc:sldChg chg="addSp delSp modSp new mod modTransition modClrScheme modShow chgLayout">
        <pc:chgData name="Koen Verbeeck" userId="24d0e79a7fd977da" providerId="LiveId" clId="{2915C232-C127-43C9-B354-7AEAA8B11E4E}" dt="2024-03-31T20:11:13.741" v="6615"/>
        <pc:sldMkLst>
          <pc:docMk/>
          <pc:sldMk cId="4267114226" sldId="2147479213"/>
        </pc:sldMkLst>
        <pc:spChg chg="del mod ord">
          <ac:chgData name="Koen Verbeeck" userId="24d0e79a7fd977da" providerId="LiveId" clId="{2915C232-C127-43C9-B354-7AEAA8B11E4E}" dt="2024-03-25T13:40:18.127" v="5114" actId="700"/>
          <ac:spMkLst>
            <pc:docMk/>
            <pc:sldMk cId="4267114226" sldId="2147479213"/>
            <ac:spMk id="2" creationId="{9BBE186D-3D05-31AA-C8DB-5F76EF423100}"/>
          </ac:spMkLst>
        </pc:spChg>
        <pc:spChg chg="del mod ord">
          <ac:chgData name="Koen Verbeeck" userId="24d0e79a7fd977da" providerId="LiveId" clId="{2915C232-C127-43C9-B354-7AEAA8B11E4E}" dt="2024-03-25T13:40:18.127" v="5114" actId="700"/>
          <ac:spMkLst>
            <pc:docMk/>
            <pc:sldMk cId="4267114226" sldId="2147479213"/>
            <ac:spMk id="3" creationId="{DCBCBE32-09A9-D14F-6F61-2022FB19FEE1}"/>
          </ac:spMkLst>
        </pc:spChg>
        <pc:spChg chg="add mod ord">
          <ac:chgData name="Koen Verbeeck" userId="24d0e79a7fd977da" providerId="LiveId" clId="{2915C232-C127-43C9-B354-7AEAA8B11E4E}" dt="2024-03-25T13:41:28.945" v="5130" actId="20577"/>
          <ac:spMkLst>
            <pc:docMk/>
            <pc:sldMk cId="4267114226" sldId="2147479213"/>
            <ac:spMk id="4" creationId="{A0FD85B5-970D-C026-4A6F-AE78A1160B15}"/>
          </ac:spMkLst>
        </pc:spChg>
        <pc:spChg chg="add mod ord">
          <ac:chgData name="Koen Verbeeck" userId="24d0e79a7fd977da" providerId="LiveId" clId="{2915C232-C127-43C9-B354-7AEAA8B11E4E}" dt="2024-03-25T13:46:40.300" v="5679" actId="20577"/>
          <ac:spMkLst>
            <pc:docMk/>
            <pc:sldMk cId="4267114226" sldId="2147479213"/>
            <ac:spMk id="5" creationId="{51F11034-7A20-EF75-558B-4B04409E9A6A}"/>
          </ac:spMkLst>
        </pc:spChg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2527175242" sldId="2147479214"/>
        </pc:sldMkLst>
        <pc:spChg chg="del mod ord">
          <ac:chgData name="Koen Verbeeck" userId="24d0e79a7fd977da" providerId="LiveId" clId="{2915C232-C127-43C9-B354-7AEAA8B11E4E}" dt="2024-03-25T13:49:33.889" v="5681" actId="700"/>
          <ac:spMkLst>
            <pc:docMk/>
            <pc:sldMk cId="2527175242" sldId="2147479214"/>
            <ac:spMk id="2" creationId="{56FD90E9-5EFB-42C1-575C-02A3F22659A2}"/>
          </ac:spMkLst>
        </pc:spChg>
        <pc:spChg chg="del">
          <ac:chgData name="Koen Verbeeck" userId="24d0e79a7fd977da" providerId="LiveId" clId="{2915C232-C127-43C9-B354-7AEAA8B11E4E}" dt="2024-03-25T13:49:33.889" v="5681" actId="700"/>
          <ac:spMkLst>
            <pc:docMk/>
            <pc:sldMk cId="2527175242" sldId="2147479214"/>
            <ac:spMk id="3" creationId="{399B2321-6CC3-8D55-AB37-A5D71D4283DF}"/>
          </ac:spMkLst>
        </pc:spChg>
        <pc:spChg chg="add mod ord">
          <ac:chgData name="Koen Verbeeck" userId="24d0e79a7fd977da" providerId="LiveId" clId="{2915C232-C127-43C9-B354-7AEAA8B11E4E}" dt="2024-03-25T13:49:49.745" v="5717" actId="20577"/>
          <ac:spMkLst>
            <pc:docMk/>
            <pc:sldMk cId="2527175242" sldId="2147479214"/>
            <ac:spMk id="4" creationId="{1BBF702F-F8B0-E202-8B70-5F929454E8E3}"/>
          </ac:spMkLst>
        </pc:spChg>
        <pc:spChg chg="add del mod">
          <ac:chgData name="Koen Verbeeck" userId="24d0e79a7fd977da" providerId="LiveId" clId="{2915C232-C127-43C9-B354-7AEAA8B11E4E}" dt="2024-03-25T13:49:55.874" v="5718" actId="478"/>
          <ac:spMkLst>
            <pc:docMk/>
            <pc:sldMk cId="2527175242" sldId="2147479214"/>
            <ac:spMk id="6" creationId="{5F2B86B1-A5FE-7B29-B1B2-6224B506214C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1" creationId="{5D6EE91F-8198-D38B-084C-BA7AA465A329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2" creationId="{DD9C567A-F432-046D-996A-49169F9E3EAD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3" creationId="{E56F089B-7E12-73B1-EDD3-912C7D2561F2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6" creationId="{7AF0FBBA-2585-5CD5-B967-C233E300CDA9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7" creationId="{BD763AE2-533B-9F3F-DB74-CDD6EE9C5F72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0" creationId="{7D46A93C-3B0F-B009-AE6D-4F1517EC1304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1" creationId="{33FE3462-385B-417C-7950-4871A8EBE58D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3" creationId="{C83A1D21-EA25-8387-1D95-D480069D9922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5" creationId="{D0C22537-2D39-E069-8741-8E945D74AF1A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7" creationId="{FB943026-527A-C4F6-A576-A797FB4E92EB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9" creationId="{E90B5B8E-570D-C36B-C9E9-A5B1DC0AF132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0" creationId="{9A29DFB2-80CE-9D20-E248-BF6AF05317AB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3" creationId="{D7490D1A-A44E-4B69-9C2D-F3413DEAF3DA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4" creationId="{1B3AF3E3-3FBE-39E9-91C3-6E82F1A99920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7" creationId="{76FD48B8-4E39-3A96-1BE2-96E3AF19829C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8" creationId="{28D2F317-8E0D-01AB-52FD-77D3D69B41BA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41" creationId="{9DEEF073-ED8F-FFE5-6704-6EF501C0CDEC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43" creationId="{A93821CB-CE07-7EDA-B322-4BD8BDAF393A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45" creationId="{6C25D305-3621-297C-BA06-B94EF0D86CE6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48" creationId="{999DC872-FA44-86F5-1E6C-076A06322321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50" creationId="{F5D1BDCE-418A-9382-A237-D58F16243C82}"/>
          </ac:spMkLst>
        </pc:sp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5" creationId="{D1109A36-0A86-83AD-2CF7-B9262F7BB59E}"/>
          </ac:picMkLst>
        </pc:picChg>
        <pc:picChg chg="add mod">
          <ac:chgData name="Koen Verbeeck" userId="24d0e79a7fd977da" providerId="LiveId" clId="{2915C232-C127-43C9-B354-7AEAA8B11E4E}" dt="2024-03-25T13:49:43.073" v="5684" actId="1076"/>
          <ac:picMkLst>
            <pc:docMk/>
            <pc:sldMk cId="2527175242" sldId="2147479214"/>
            <ac:picMk id="7" creationId="{6805FAB6-EB3F-1A86-D1FB-F5B2DEC9C59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8" creationId="{6BB6D1A0-4441-18E3-C866-25707ABA90F2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9" creationId="{0B946084-81EB-3515-1D3E-BEEF0DB9727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0" creationId="{EFBB0480-8462-11CB-3AF1-687BEE6A77F8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4" creationId="{6EAFFF02-2B45-0069-44FA-B4325A4292C1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5" creationId="{E4F4C74E-0192-A2C6-020A-EEA868CEBC5A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8" creationId="{0F3C62D9-1768-0048-AEAA-6E9908B0CBA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9" creationId="{BAF68975-6DC5-D930-4325-0436E0CEDEE0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22" creationId="{E406C287-E688-7B4E-6AEE-1386A6BBB181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24" creationId="{2ED772D3-0896-F9A8-49E7-4D09064AA8C5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26" creationId="{9D1401BE-2C7B-72F8-19D5-0F02DD25F102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28" creationId="{3F264B7D-138F-13B0-4AFB-6D43BC7525D8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1" creationId="{EA6F7F7B-0A1E-BAB5-CA91-3ACD68B2117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2" creationId="{2CDFEF84-EC83-3287-9734-E7BE41A00F5D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5" creationId="{DFA38FCC-5085-8AA3-E90C-937C58A88E83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6" creationId="{77FAEA7A-59C7-2B05-18AC-733C4A755D8D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9" creationId="{8DEE8351-1E5E-3FB7-ACCF-3197A340D279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0" creationId="{619DA9D4-2447-2AB1-1905-7B9ADCEB3CF0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2" creationId="{80490792-2CFF-465C-3A07-58CD8F3DB842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4" creationId="{BA6C5328-EE37-CDF7-1B89-D2F1C4FC0DB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6" creationId="{CC8D065A-590F-C891-E5FE-3C9223DE6101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7" creationId="{C72CD42B-6EDC-B748-BD3C-1FCA18B14F95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9" creationId="{8BBDAB2E-B452-E1B5-F7E0-40F38B6C271E}"/>
          </ac:picMkLst>
        </pc:picChg>
      </pc:sldChg>
      <pc:sldChg chg="addSp modSp new mod modTransition modClrScheme modAnim chgLayout">
        <pc:chgData name="Koen Verbeeck" userId="24d0e79a7fd977da" providerId="LiveId" clId="{2915C232-C127-43C9-B354-7AEAA8B11E4E}" dt="2024-03-31T20:31:51.217" v="6771" actId="1076"/>
        <pc:sldMkLst>
          <pc:docMk/>
          <pc:sldMk cId="1564335061" sldId="2147479215"/>
        </pc:sldMkLst>
        <pc:spChg chg="mod ord">
          <ac:chgData name="Koen Verbeeck" userId="24d0e79a7fd977da" providerId="LiveId" clId="{2915C232-C127-43C9-B354-7AEAA8B11E4E}" dt="2024-03-25T13:50:46.227" v="5745" actId="700"/>
          <ac:spMkLst>
            <pc:docMk/>
            <pc:sldMk cId="1564335061" sldId="2147479215"/>
            <ac:spMk id="2" creationId="{20B0790B-D98A-B05A-5AC2-E06A8DF430CD}"/>
          </ac:spMkLst>
        </pc:spChg>
        <pc:spChg chg="add mod ord">
          <ac:chgData name="Koen Verbeeck" userId="24d0e79a7fd977da" providerId="LiveId" clId="{2915C232-C127-43C9-B354-7AEAA8B11E4E}" dt="2024-03-31T20:31:36.642" v="6766" actId="14"/>
          <ac:spMkLst>
            <pc:docMk/>
            <pc:sldMk cId="1564335061" sldId="2147479215"/>
            <ac:spMk id="3" creationId="{36C1E64A-374C-7F01-4DFF-FEC6394B1736}"/>
          </ac:spMkLst>
        </pc:spChg>
        <pc:picChg chg="add mod">
          <ac:chgData name="Koen Verbeeck" userId="24d0e79a7fd977da" providerId="LiveId" clId="{2915C232-C127-43C9-B354-7AEAA8B11E4E}" dt="2024-03-31T20:31:51.217" v="6771" actId="1076"/>
          <ac:picMkLst>
            <pc:docMk/>
            <pc:sldMk cId="1564335061" sldId="2147479215"/>
            <ac:picMk id="4" creationId="{2B4A5223-918D-0239-B3DF-E2610AAD8A6F}"/>
          </ac:picMkLst>
        </pc:picChg>
      </pc:sldChg>
      <pc:sldChg chg="addSp delSp modSp new mod modTransition modClrScheme modAnim chgLayout">
        <pc:chgData name="Koen Verbeeck" userId="24d0e79a7fd977da" providerId="LiveId" clId="{2915C232-C127-43C9-B354-7AEAA8B11E4E}" dt="2024-03-31T20:11:13.741" v="6615"/>
        <pc:sldMkLst>
          <pc:docMk/>
          <pc:sldMk cId="3710448998" sldId="2147479216"/>
        </pc:sldMkLst>
        <pc:spChg chg="del mod ord">
          <ac:chgData name="Koen Verbeeck" userId="24d0e79a7fd977da" providerId="LiveId" clId="{2915C232-C127-43C9-B354-7AEAA8B11E4E}" dt="2024-03-25T13:58:12.536" v="6152" actId="700"/>
          <ac:spMkLst>
            <pc:docMk/>
            <pc:sldMk cId="3710448998" sldId="2147479216"/>
            <ac:spMk id="2" creationId="{C41947F3-7126-2879-6704-F1E6E84BA2BB}"/>
          </ac:spMkLst>
        </pc:spChg>
        <pc:spChg chg="add mod ord">
          <ac:chgData name="Koen Verbeeck" userId="24d0e79a7fd977da" providerId="LiveId" clId="{2915C232-C127-43C9-B354-7AEAA8B11E4E}" dt="2024-03-27T18:36:01.603" v="6155"/>
          <ac:spMkLst>
            <pc:docMk/>
            <pc:sldMk cId="3710448998" sldId="2147479216"/>
            <ac:spMk id="3" creationId="{82E5F937-9B2A-A5F8-4111-0535AFABDC4B}"/>
          </ac:spMkLst>
        </pc:spChg>
        <pc:spChg chg="add mod ord">
          <ac:chgData name="Koen Verbeeck" userId="24d0e79a7fd977da" providerId="LiveId" clId="{2915C232-C127-43C9-B354-7AEAA8B11E4E}" dt="2024-03-27T18:39:02.932" v="6543" actId="113"/>
          <ac:spMkLst>
            <pc:docMk/>
            <pc:sldMk cId="3710448998" sldId="2147479216"/>
            <ac:spMk id="4" creationId="{A1BF2077-9174-4522-0026-38AE8B0FB1E4}"/>
          </ac:spMkLst>
        </pc:spChg>
      </pc:sldChg>
      <pc:sldChg chg="addSp delSp modSp new mod modTransition modAnim">
        <pc:chgData name="Koen Verbeeck" userId="24d0e79a7fd977da" providerId="LiveId" clId="{2915C232-C127-43C9-B354-7AEAA8B11E4E}" dt="2024-03-31T20:23:29.068" v="6721" actId="1076"/>
        <pc:sldMkLst>
          <pc:docMk/>
          <pc:sldMk cId="595672373" sldId="2147479217"/>
        </pc:sldMkLst>
        <pc:spChg chg="mod">
          <ac:chgData name="Koen Verbeeck" userId="24d0e79a7fd977da" providerId="LiveId" clId="{2915C232-C127-43C9-B354-7AEAA8B11E4E}" dt="2024-03-31T20:11:07.805" v="6614"/>
          <ac:spMkLst>
            <pc:docMk/>
            <pc:sldMk cId="595672373" sldId="2147479217"/>
            <ac:spMk id="2" creationId="{023E4CE2-F414-9438-B04B-A6BF87D5DCA8}"/>
          </ac:spMkLst>
        </pc:spChg>
        <pc:spChg chg="del">
          <ac:chgData name="Koen Verbeeck" userId="24d0e79a7fd977da" providerId="LiveId" clId="{2915C232-C127-43C9-B354-7AEAA8B11E4E}" dt="2024-03-31T20:11:20.756" v="6616" actId="478"/>
          <ac:spMkLst>
            <pc:docMk/>
            <pc:sldMk cId="595672373" sldId="2147479217"/>
            <ac:spMk id="3" creationId="{25D9F5C2-5FBA-4B40-C643-62403A68D6DD}"/>
          </ac:spMkLst>
        </pc:spChg>
        <pc:graphicFrameChg chg="add mod modGraphic">
          <ac:chgData name="Koen Verbeeck" userId="24d0e79a7fd977da" providerId="LiveId" clId="{2915C232-C127-43C9-B354-7AEAA8B11E4E}" dt="2024-03-31T20:23:29.068" v="6721" actId="1076"/>
          <ac:graphicFrameMkLst>
            <pc:docMk/>
            <pc:sldMk cId="595672373" sldId="2147479217"/>
            <ac:graphicFrameMk id="4" creationId="{C58791C3-20F5-D1FD-C830-2871BBD97F2F}"/>
          </ac:graphicFrameMkLst>
        </pc:graphicFrameChg>
      </pc:sldChg>
      <pc:sldChg chg="addSp delSp modSp new mod modShow">
        <pc:chgData name="Koen Verbeeck" userId="24d0e79a7fd977da" providerId="LiveId" clId="{2915C232-C127-43C9-B354-7AEAA8B11E4E}" dt="2024-03-31T20:33:27.137" v="6776" actId="1076"/>
        <pc:sldMkLst>
          <pc:docMk/>
          <pc:sldMk cId="3434458835" sldId="2147479218"/>
        </pc:sldMkLst>
        <pc:spChg chg="del">
          <ac:chgData name="Koen Verbeeck" userId="24d0e79a7fd977da" providerId="LiveId" clId="{2915C232-C127-43C9-B354-7AEAA8B11E4E}" dt="2024-03-31T20:17:26.992" v="6656" actId="931"/>
          <ac:spMkLst>
            <pc:docMk/>
            <pc:sldMk cId="3434458835" sldId="2147479218"/>
            <ac:spMk id="3" creationId="{A2B5C568-554A-6499-B419-13072281C342}"/>
          </ac:spMkLst>
        </pc:spChg>
        <pc:picChg chg="add mod">
          <ac:chgData name="Koen Verbeeck" userId="24d0e79a7fd977da" providerId="LiveId" clId="{2915C232-C127-43C9-B354-7AEAA8B11E4E}" dt="2024-03-31T20:17:31.789" v="6660" actId="962"/>
          <ac:picMkLst>
            <pc:docMk/>
            <pc:sldMk cId="3434458835" sldId="2147479218"/>
            <ac:picMk id="5" creationId="{0EFD4264-3BE1-F719-BDD5-D640428D2719}"/>
          </ac:picMkLst>
        </pc:picChg>
        <pc:picChg chg="add mod">
          <ac:chgData name="Koen Verbeeck" userId="24d0e79a7fd977da" providerId="LiveId" clId="{2915C232-C127-43C9-B354-7AEAA8B11E4E}" dt="2024-03-31T20:33:27.137" v="6776" actId="1076"/>
          <ac:picMkLst>
            <pc:docMk/>
            <pc:sldMk cId="3434458835" sldId="2147479218"/>
            <ac:picMk id="7" creationId="{CE1CD8D6-A045-DA54-3371-DBE9D177D7A8}"/>
          </ac:picMkLst>
        </pc:picChg>
        <pc:picChg chg="add mod">
          <ac:chgData name="Koen Verbeeck" userId="24d0e79a7fd977da" providerId="LiveId" clId="{2915C232-C127-43C9-B354-7AEAA8B11E4E}" dt="2024-03-31T20:18:06.575" v="6669" actId="1076"/>
          <ac:picMkLst>
            <pc:docMk/>
            <pc:sldMk cId="3434458835" sldId="2147479218"/>
            <ac:picMk id="8" creationId="{5CC5BFF4-F0CC-AF4D-F3DD-1BE19F330B5A}"/>
          </ac:picMkLst>
        </pc:picChg>
      </pc:sldChg>
      <pc:sldMasterChg chg="delSp modSp mod delSldLayout">
        <pc:chgData name="Koen Verbeeck" userId="24d0e79a7fd977da" providerId="LiveId" clId="{2915C232-C127-43C9-B354-7AEAA8B11E4E}" dt="2024-03-17T15:07:46.815" v="2067" actId="47"/>
        <pc:sldMasterMkLst>
          <pc:docMk/>
          <pc:sldMasterMk cId="1201240828" sldId="2147483683"/>
        </pc:sldMasterMkLst>
        <pc:spChg chg="del mod">
          <ac:chgData name="Koen Verbeeck" userId="24d0e79a7fd977da" providerId="LiveId" clId="{2915C232-C127-43C9-B354-7AEAA8B11E4E}" dt="2024-03-17T13:24:39.850" v="158" actId="478"/>
          <ac:spMkLst>
            <pc:docMk/>
            <pc:sldMasterMk cId="1201240828" sldId="2147483683"/>
            <ac:spMk id="124" creationId="{F7DE521A-FD28-4674-8870-99C9719D9BA8}"/>
          </ac:spMkLst>
        </pc:spChg>
        <pc:spChg chg="del">
          <ac:chgData name="Koen Verbeeck" userId="24d0e79a7fd977da" providerId="LiveId" clId="{2915C232-C127-43C9-B354-7AEAA8B11E4E}" dt="2024-03-17T13:24:46.179" v="159" actId="478"/>
          <ac:spMkLst>
            <pc:docMk/>
            <pc:sldMasterMk cId="1201240828" sldId="2147483683"/>
            <ac:spMk id="126" creationId="{17A1C232-30B9-4B07-8AB1-FC3713EAA6F3}"/>
          </ac:spMkLst>
        </pc:spChg>
        <pc:spChg chg="del">
          <ac:chgData name="Koen Verbeeck" userId="24d0e79a7fd977da" providerId="LiveId" clId="{2915C232-C127-43C9-B354-7AEAA8B11E4E}" dt="2024-03-17T13:24:46.179" v="159" actId="478"/>
          <ac:spMkLst>
            <pc:docMk/>
            <pc:sldMasterMk cId="1201240828" sldId="2147483683"/>
            <ac:spMk id="127" creationId="{595DBF75-C33F-4774-8827-9E0A498545CE}"/>
          </ac:spMkLst>
        </pc:spChg>
        <pc:spChg chg="del">
          <ac:chgData name="Koen Verbeeck" userId="24d0e79a7fd977da" providerId="LiveId" clId="{2915C232-C127-43C9-B354-7AEAA8B11E4E}" dt="2024-03-17T13:24:46.179" v="159" actId="478"/>
          <ac:spMkLst>
            <pc:docMk/>
            <pc:sldMasterMk cId="1201240828" sldId="2147483683"/>
            <ac:spMk id="129" creationId="{BD41E6CE-F692-4727-823E-4195EF1427C4}"/>
          </ac:spMkLst>
        </pc:spChg>
        <pc:grpChg chg="del">
          <ac:chgData name="Koen Verbeeck" userId="24d0e79a7fd977da" providerId="LiveId" clId="{2915C232-C127-43C9-B354-7AEAA8B11E4E}" dt="2024-03-17T13:24:33.073" v="156" actId="478"/>
          <ac:grpSpMkLst>
            <pc:docMk/>
            <pc:sldMasterMk cId="1201240828" sldId="2147483683"/>
            <ac:grpSpMk id="30" creationId="{D23DDBD4-3D8C-4FE1-87B8-408D0EC0A5D0}"/>
          </ac:grpSpMkLst>
        </pc:grpChg>
        <pc:cxnChg chg="del">
          <ac:chgData name="Koen Verbeeck" userId="24d0e79a7fd977da" providerId="LiveId" clId="{2915C232-C127-43C9-B354-7AEAA8B11E4E}" dt="2024-03-17T13:24:46.179" v="159" actId="478"/>
          <ac:cxnSpMkLst>
            <pc:docMk/>
            <pc:sldMasterMk cId="1201240828" sldId="2147483683"/>
            <ac:cxnSpMk id="125" creationId="{1606B710-69A2-4620-9154-26E4E739F958}"/>
          </ac:cxnSpMkLst>
        </pc:cxnChg>
        <pc:cxnChg chg="del">
          <ac:chgData name="Koen Verbeeck" userId="24d0e79a7fd977da" providerId="LiveId" clId="{2915C232-C127-43C9-B354-7AEAA8B11E4E}" dt="2024-03-17T13:24:46.179" v="159" actId="478"/>
          <ac:cxnSpMkLst>
            <pc:docMk/>
            <pc:sldMasterMk cId="1201240828" sldId="2147483683"/>
            <ac:cxnSpMk id="128" creationId="{D74EB6B8-DB92-4985-BEEC-A404250CE3BD}"/>
          </ac:cxnSpMkLst>
        </pc:cxnChg>
        <pc:sldLayoutChg chg="del">
          <pc:chgData name="Koen Verbeeck" userId="24d0e79a7fd977da" providerId="LiveId" clId="{2915C232-C127-43C9-B354-7AEAA8B11E4E}" dt="2024-03-17T15:07:46.815" v="2067" actId="47"/>
          <pc:sldLayoutMkLst>
            <pc:docMk/>
            <pc:sldMasterMk cId="1201240828" sldId="2147483683"/>
            <pc:sldLayoutMk cId="2955875296" sldId="2147483727"/>
          </pc:sldLayoutMkLst>
        </pc:sldLayoutChg>
      </pc:sldMasterChg>
    </pc:docChg>
  </pc:docChgLst>
  <pc:docChgLst>
    <pc:chgData name="Koen Verbeeck" userId="24d0e79a7fd977da" providerId="LiveId" clId="{3AD79700-AEF1-4BFE-BB5E-C115CFACCDB5}"/>
    <pc:docChg chg="undo custSel addSld delSld modSld sldOrd">
      <pc:chgData name="Koen Verbeeck" userId="24d0e79a7fd977da" providerId="LiveId" clId="{3AD79700-AEF1-4BFE-BB5E-C115CFACCDB5}" dt="2024-04-27T08:54:49.794" v="922"/>
      <pc:docMkLst>
        <pc:docMk/>
      </pc:docMkLst>
      <pc:sldChg chg="addSp modSp mod modTransition modAnim">
        <pc:chgData name="Koen Verbeeck" userId="24d0e79a7fd977da" providerId="LiveId" clId="{3AD79700-AEF1-4BFE-BB5E-C115CFACCDB5}" dt="2024-04-27T08:54:49.794" v="922"/>
        <pc:sldMkLst>
          <pc:docMk/>
          <pc:sldMk cId="4165279226" sldId="265"/>
        </pc:sldMkLst>
        <pc:picChg chg="add mod">
          <ac:chgData name="Koen Verbeeck" userId="24d0e79a7fd977da" providerId="LiveId" clId="{3AD79700-AEF1-4BFE-BB5E-C115CFACCDB5}" dt="2024-04-27T08:54:46.804" v="921" actId="1076"/>
          <ac:picMkLst>
            <pc:docMk/>
            <pc:sldMk cId="4165279226" sldId="265"/>
            <ac:picMk id="7" creationId="{12EAFCF2-FDB9-5899-AC49-7D14ABB9946A}"/>
          </ac:picMkLst>
        </pc:picChg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81771224" sldId="28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552493767" sldId="28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884648072" sldId="28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123045658" sldId="28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137338595" sldId="383"/>
        </pc:sldMkLst>
      </pc:sldChg>
      <pc:sldChg chg="addSp delSp modSp mod modTransition modClrScheme chgLayout">
        <pc:chgData name="Koen Verbeeck" userId="24d0e79a7fd977da" providerId="LiveId" clId="{3AD79700-AEF1-4BFE-BB5E-C115CFACCDB5}" dt="2024-04-21T12:11:50.584" v="889" actId="14100"/>
        <pc:sldMkLst>
          <pc:docMk/>
          <pc:sldMk cId="3964894102" sldId="384"/>
        </pc:sldMkLst>
        <pc:spChg chg="del">
          <ac:chgData name="Koen Verbeeck" userId="24d0e79a7fd977da" providerId="LiveId" clId="{3AD79700-AEF1-4BFE-BB5E-C115CFACCDB5}" dt="2024-04-21T12:10:03.761" v="871" actId="478"/>
          <ac:spMkLst>
            <pc:docMk/>
            <pc:sldMk cId="3964894102" sldId="384"/>
            <ac:spMk id="3" creationId="{C59C1DD1-BE69-18BA-56C8-DF976FABE330}"/>
          </ac:spMkLst>
        </pc:spChg>
        <pc:spChg chg="add del mod">
          <ac:chgData name="Koen Verbeeck" userId="24d0e79a7fd977da" providerId="LiveId" clId="{3AD79700-AEF1-4BFE-BB5E-C115CFACCDB5}" dt="2024-04-21T12:10:06.108" v="872" actId="478"/>
          <ac:spMkLst>
            <pc:docMk/>
            <pc:sldMk cId="3964894102" sldId="384"/>
            <ac:spMk id="4" creationId="{2CA212E2-D4F4-4161-5472-B22051B49DE9}"/>
          </ac:spMkLst>
        </pc:spChg>
        <pc:spChg chg="add del mod">
          <ac:chgData name="Koen Verbeeck" userId="24d0e79a7fd977da" providerId="LiveId" clId="{3AD79700-AEF1-4BFE-BB5E-C115CFACCDB5}" dt="2024-04-21T12:10:26.822" v="876" actId="478"/>
          <ac:spMkLst>
            <pc:docMk/>
            <pc:sldMk cId="3964894102" sldId="384"/>
            <ac:spMk id="5" creationId="{C20A9C7F-4458-2505-6261-1280A72AFB78}"/>
          </ac:spMkLst>
        </pc:spChg>
        <pc:spChg chg="add del mod">
          <ac:chgData name="Koen Verbeeck" userId="24d0e79a7fd977da" providerId="LiveId" clId="{3AD79700-AEF1-4BFE-BB5E-C115CFACCDB5}" dt="2024-04-21T12:10:51.687" v="879" actId="478"/>
          <ac:spMkLst>
            <pc:docMk/>
            <pc:sldMk cId="3964894102" sldId="384"/>
            <ac:spMk id="6" creationId="{388A669F-1A7C-B229-0D6B-E1505B31C1DA}"/>
          </ac:spMkLst>
        </pc:spChg>
        <pc:spChg chg="add del mod">
          <ac:chgData name="Koen Verbeeck" userId="24d0e79a7fd977da" providerId="LiveId" clId="{3AD79700-AEF1-4BFE-BB5E-C115CFACCDB5}" dt="2024-04-21T12:10:29.236" v="877" actId="478"/>
          <ac:spMkLst>
            <pc:docMk/>
            <pc:sldMk cId="3964894102" sldId="384"/>
            <ac:spMk id="8" creationId="{5BE5B0A8-EEB0-FE26-CDFD-6F4EDCCDB4BD}"/>
          </ac:spMkLst>
        </pc:spChg>
        <pc:spChg chg="add del mod">
          <ac:chgData name="Koen Verbeeck" userId="24d0e79a7fd977da" providerId="LiveId" clId="{3AD79700-AEF1-4BFE-BB5E-C115CFACCDB5}" dt="2024-04-21T12:10:51.687" v="879" actId="478"/>
          <ac:spMkLst>
            <pc:docMk/>
            <pc:sldMk cId="3964894102" sldId="384"/>
            <ac:spMk id="9" creationId="{AB278655-60F2-A276-71E7-03D68DC159C2}"/>
          </ac:spMkLst>
        </pc:spChg>
        <pc:spChg chg="add del mod">
          <ac:chgData name="Koen Verbeeck" userId="24d0e79a7fd977da" providerId="LiveId" clId="{3AD79700-AEF1-4BFE-BB5E-C115CFACCDB5}" dt="2024-04-21T12:10:54.180" v="880" actId="478"/>
          <ac:spMkLst>
            <pc:docMk/>
            <pc:sldMk cId="3964894102" sldId="384"/>
            <ac:spMk id="11" creationId="{D049BCD8-9CCC-59B1-2CD7-5AFA85315752}"/>
          </ac:spMkLst>
        </pc:spChg>
        <pc:spChg chg="add mod ord">
          <ac:chgData name="Koen Verbeeck" userId="24d0e79a7fd977da" providerId="LiveId" clId="{3AD79700-AEF1-4BFE-BB5E-C115CFACCDB5}" dt="2024-04-21T12:11:28.211" v="882" actId="700"/>
          <ac:spMkLst>
            <pc:docMk/>
            <pc:sldMk cId="3964894102" sldId="384"/>
            <ac:spMk id="12" creationId="{4A891A68-40AF-E26C-EABC-39DE52EC4008}"/>
          </ac:spMkLst>
        </pc:spChg>
        <pc:spChg chg="mod ord">
          <ac:chgData name="Koen Verbeeck" userId="24d0e79a7fd977da" providerId="LiveId" clId="{3AD79700-AEF1-4BFE-BB5E-C115CFACCDB5}" dt="2024-04-21T12:11:50.584" v="889" actId="14100"/>
          <ac:spMkLst>
            <pc:docMk/>
            <pc:sldMk cId="3964894102" sldId="384"/>
            <ac:spMk id="13" creationId="{0A925C7F-DC41-244E-985A-B5DACDDC487B}"/>
          </ac:spMkLst>
        </pc:spChg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909643325" sldId="38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677851476" sldId="393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860859307" sldId="39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395989392" sldId="403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199220616" sldId="40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521530753" sldId="40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7014169" sldId="409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306296076" sldId="410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957152188" sldId="41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787299153" sldId="214747917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260289620" sldId="2147479177"/>
        </pc:sldMkLst>
      </pc:sldChg>
      <pc:sldChg chg="modSp mod modTransition modClrScheme chgLayout">
        <pc:chgData name="Koen Verbeeck" userId="24d0e79a7fd977da" providerId="LiveId" clId="{3AD79700-AEF1-4BFE-BB5E-C115CFACCDB5}" dt="2024-04-21T12:12:08.125" v="891" actId="1076"/>
        <pc:sldMkLst>
          <pc:docMk/>
          <pc:sldMk cId="1604977853" sldId="2147479179"/>
        </pc:sldMkLst>
        <pc:spChg chg="mod ord">
          <ac:chgData name="Koen Verbeeck" userId="24d0e79a7fd977da" providerId="LiveId" clId="{3AD79700-AEF1-4BFE-BB5E-C115CFACCDB5}" dt="2024-04-21T12:12:04.132" v="890" actId="700"/>
          <ac:spMkLst>
            <pc:docMk/>
            <pc:sldMk cId="1604977853" sldId="2147479179"/>
            <ac:spMk id="3" creationId="{C59C1DD1-BE69-18BA-56C8-DF976FABE330}"/>
          </ac:spMkLst>
        </pc:spChg>
        <pc:spChg chg="mod ord">
          <ac:chgData name="Koen Verbeeck" userId="24d0e79a7fd977da" providerId="LiveId" clId="{3AD79700-AEF1-4BFE-BB5E-C115CFACCDB5}" dt="2024-04-21T12:12:08.125" v="891" actId="1076"/>
          <ac:spMkLst>
            <pc:docMk/>
            <pc:sldMk cId="1604977853" sldId="2147479179"/>
            <ac:spMk id="13" creationId="{0A925C7F-DC41-244E-985A-B5DACDDC487B}"/>
          </ac:spMkLst>
        </pc:spChg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398869796" sldId="2147479180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806165236" sldId="2147479181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152884593" sldId="214747918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496110655" sldId="214747918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53278427" sldId="214747918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194623747" sldId="214747918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111487475" sldId="2147479188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795568263" sldId="2147479189"/>
        </pc:sldMkLst>
      </pc:sldChg>
      <pc:sldChg chg="addSp delSp modSp mod modTransition">
        <pc:chgData name="Koen Verbeeck" userId="24d0e79a7fd977da" providerId="LiveId" clId="{3AD79700-AEF1-4BFE-BB5E-C115CFACCDB5}" dt="2024-04-09T14:17:44.500" v="208" actId="478"/>
        <pc:sldMkLst>
          <pc:docMk/>
          <pc:sldMk cId="84166459" sldId="2147479190"/>
        </pc:sldMkLst>
        <pc:spChg chg="add del mod">
          <ac:chgData name="Koen Verbeeck" userId="24d0e79a7fd977da" providerId="LiveId" clId="{3AD79700-AEF1-4BFE-BB5E-C115CFACCDB5}" dt="2024-04-09T14:17:44.500" v="208" actId="478"/>
          <ac:spMkLst>
            <pc:docMk/>
            <pc:sldMk cId="84166459" sldId="2147479190"/>
            <ac:spMk id="3" creationId="{4EA4B87D-3F99-150E-DB61-E81E900181EE}"/>
          </ac:spMkLst>
        </pc:spChg>
        <pc:spChg chg="mod">
          <ac:chgData name="Koen Verbeeck" userId="24d0e79a7fd977da" providerId="LiveId" clId="{3AD79700-AEF1-4BFE-BB5E-C115CFACCDB5}" dt="2024-04-09T14:17:38.906" v="205"/>
          <ac:spMkLst>
            <pc:docMk/>
            <pc:sldMk cId="84166459" sldId="2147479190"/>
            <ac:spMk id="13" creationId="{78363D9E-6A92-82B9-4329-0487D44F3705}"/>
          </ac:spMkLst>
        </pc:spChg>
        <pc:spChg chg="del">
          <ac:chgData name="Koen Verbeeck" userId="24d0e79a7fd977da" providerId="LiveId" clId="{3AD79700-AEF1-4BFE-BB5E-C115CFACCDB5}" dt="2024-04-09T14:17:41.202" v="206" actId="478"/>
          <ac:spMkLst>
            <pc:docMk/>
            <pc:sldMk cId="84166459" sldId="2147479190"/>
            <ac:spMk id="15" creationId="{AC6E3F63-374B-F2E4-7533-9B5BB571D27A}"/>
          </ac:spMkLst>
        </pc:spChg>
        <pc:spChg chg="del">
          <ac:chgData name="Koen Verbeeck" userId="24d0e79a7fd977da" providerId="LiveId" clId="{3AD79700-AEF1-4BFE-BB5E-C115CFACCDB5}" dt="2024-04-09T14:17:43.244" v="207" actId="478"/>
          <ac:spMkLst>
            <pc:docMk/>
            <pc:sldMk cId="84166459" sldId="2147479190"/>
            <ac:spMk id="16" creationId="{9E0ABD96-E068-07D4-355E-C3B572C0AA5B}"/>
          </ac:spMkLst>
        </pc:spChg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278060633" sldId="2147479191"/>
        </pc:sldMkLst>
      </pc:sldChg>
      <pc:sldChg chg="modTransition modAnim">
        <pc:chgData name="Koen Verbeeck" userId="24d0e79a7fd977da" providerId="LiveId" clId="{3AD79700-AEF1-4BFE-BB5E-C115CFACCDB5}" dt="2024-04-10T12:03:47.248" v="239"/>
        <pc:sldMkLst>
          <pc:docMk/>
          <pc:sldMk cId="2424307365" sldId="2147479192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327942522" sldId="2147479193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078374174" sldId="214747919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491774400" sldId="214747919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348280717" sldId="214747919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774574104" sldId="214747919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401485941" sldId="2147479198"/>
        </pc:sldMkLst>
      </pc:sldChg>
      <pc:sldChg chg="del modTransition">
        <pc:chgData name="Koen Verbeeck" userId="24d0e79a7fd977da" providerId="LiveId" clId="{3AD79700-AEF1-4BFE-BB5E-C115CFACCDB5}" dt="2024-04-10T12:17:06.844" v="643" actId="47"/>
        <pc:sldMkLst>
          <pc:docMk/>
          <pc:sldMk cId="528637558" sldId="2147479199"/>
        </pc:sldMkLst>
      </pc:sldChg>
      <pc:sldChg chg="del modTransition">
        <pc:chgData name="Koen Verbeeck" userId="24d0e79a7fd977da" providerId="LiveId" clId="{3AD79700-AEF1-4BFE-BB5E-C115CFACCDB5}" dt="2024-04-10T12:25:35.445" v="825" actId="47"/>
        <pc:sldMkLst>
          <pc:docMk/>
          <pc:sldMk cId="780797957" sldId="2147479200"/>
        </pc:sldMkLst>
      </pc:sldChg>
      <pc:sldChg chg="mod modTransition modShow">
        <pc:chgData name="Koen Verbeeck" userId="24d0e79a7fd977da" providerId="LiveId" clId="{3AD79700-AEF1-4BFE-BB5E-C115CFACCDB5}" dt="2024-04-09T14:12:43.347" v="146" actId="729"/>
        <pc:sldMkLst>
          <pc:docMk/>
          <pc:sldMk cId="1588850713" sldId="2147479201"/>
        </pc:sldMkLst>
      </pc:sldChg>
      <pc:sldChg chg="addSp modSp modTransition">
        <pc:chgData name="Koen Verbeeck" userId="24d0e79a7fd977da" providerId="LiveId" clId="{3AD79700-AEF1-4BFE-BB5E-C115CFACCDB5}" dt="2024-04-10T12:26:20.742" v="828" actId="1076"/>
        <pc:sldMkLst>
          <pc:docMk/>
          <pc:sldMk cId="1842611518" sldId="2147479202"/>
        </pc:sldMkLst>
        <pc:picChg chg="add mod">
          <ac:chgData name="Koen Verbeeck" userId="24d0e79a7fd977da" providerId="LiveId" clId="{3AD79700-AEF1-4BFE-BB5E-C115CFACCDB5}" dt="2024-04-10T12:26:20.742" v="828" actId="1076"/>
          <ac:picMkLst>
            <pc:docMk/>
            <pc:sldMk cId="1842611518" sldId="2147479202"/>
            <ac:picMk id="2050" creationId="{FA2E4A7F-9399-E3FB-E62C-D9C8ECAE201A}"/>
          </ac:picMkLst>
        </pc:picChg>
      </pc:sldChg>
      <pc:sldChg chg="modSp modTransition">
        <pc:chgData name="Koen Verbeeck" userId="24d0e79a7fd977da" providerId="LiveId" clId="{3AD79700-AEF1-4BFE-BB5E-C115CFACCDB5}" dt="2024-04-09T08:12:29.766" v="57"/>
        <pc:sldMkLst>
          <pc:docMk/>
          <pc:sldMk cId="201928412" sldId="2147479203"/>
        </pc:sldMkLst>
        <pc:spChg chg="mod">
          <ac:chgData name="Koen Verbeeck" userId="24d0e79a7fd977da" providerId="LiveId" clId="{3AD79700-AEF1-4BFE-BB5E-C115CFACCDB5}" dt="2024-04-09T08:09:36.235" v="0" actId="403"/>
          <ac:spMkLst>
            <pc:docMk/>
            <pc:sldMk cId="201928412" sldId="2147479203"/>
            <ac:spMk id="3" creationId="{F7F736B8-583A-4246-F63D-6523F81591F7}"/>
          </ac:spMkLst>
        </pc:spChg>
        <pc:picChg chg="mod">
          <ac:chgData name="Koen Verbeeck" userId="24d0e79a7fd977da" providerId="LiveId" clId="{3AD79700-AEF1-4BFE-BB5E-C115CFACCDB5}" dt="2024-04-09T08:09:41.009" v="1" actId="1076"/>
          <ac:picMkLst>
            <pc:docMk/>
            <pc:sldMk cId="201928412" sldId="2147479203"/>
            <ac:picMk id="1026" creationId="{6CC2A0A1-DC9D-BEB0-3DB8-5486C354272B}"/>
          </ac:picMkLst>
        </pc:picChg>
      </pc:sldChg>
      <pc:sldChg chg="addSp modSp mod modTransition modAnim">
        <pc:chgData name="Koen Verbeeck" userId="24d0e79a7fd977da" providerId="LiveId" clId="{3AD79700-AEF1-4BFE-BB5E-C115CFACCDB5}" dt="2024-04-10T12:27:47.039" v="848" actId="6549"/>
        <pc:sldMkLst>
          <pc:docMk/>
          <pc:sldMk cId="3050100775" sldId="2147479204"/>
        </pc:sldMkLst>
        <pc:spChg chg="mod">
          <ac:chgData name="Koen Verbeeck" userId="24d0e79a7fd977da" providerId="LiveId" clId="{3AD79700-AEF1-4BFE-BB5E-C115CFACCDB5}" dt="2024-04-10T12:27:47.039" v="848" actId="6549"/>
          <ac:spMkLst>
            <pc:docMk/>
            <pc:sldMk cId="3050100775" sldId="2147479204"/>
            <ac:spMk id="3" creationId="{C96D03BE-A57F-6A51-35C1-608C51C6564B}"/>
          </ac:spMkLst>
        </pc:spChg>
        <pc:picChg chg="add mod">
          <ac:chgData name="Koen Verbeeck" userId="24d0e79a7fd977da" providerId="LiveId" clId="{3AD79700-AEF1-4BFE-BB5E-C115CFACCDB5}" dt="2024-04-10T12:27:40.842" v="844" actId="1036"/>
          <ac:picMkLst>
            <pc:docMk/>
            <pc:sldMk cId="3050100775" sldId="2147479204"/>
            <ac:picMk id="5" creationId="{3CEF13D9-C1BE-3398-21B5-13559AF17866}"/>
          </ac:picMkLst>
        </pc:picChg>
      </pc:sldChg>
      <pc:sldChg chg="mod modTransition modShow">
        <pc:chgData name="Koen Verbeeck" userId="24d0e79a7fd977da" providerId="LiveId" clId="{3AD79700-AEF1-4BFE-BB5E-C115CFACCDB5}" dt="2024-04-09T14:12:43.347" v="146" actId="729"/>
        <pc:sldMkLst>
          <pc:docMk/>
          <pc:sldMk cId="3637547467" sldId="214747920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02178584" sldId="214747920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27849722" sldId="214747920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682877416" sldId="2147479208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59148281" sldId="2147479209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180879746" sldId="2147479210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769392383" sldId="2147479211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050327384" sldId="2147479212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267114226" sldId="2147479213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527175242" sldId="214747921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564335061" sldId="214747921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710448998" sldId="2147479216"/>
        </pc:sldMkLst>
      </pc:sldChg>
      <pc:sldChg chg="modSp modTransition">
        <pc:chgData name="Koen Verbeeck" userId="24d0e79a7fd977da" providerId="LiveId" clId="{3AD79700-AEF1-4BFE-BB5E-C115CFACCDB5}" dt="2024-04-21T12:12:59.344" v="892"/>
        <pc:sldMkLst>
          <pc:docMk/>
          <pc:sldMk cId="595672373" sldId="2147479217"/>
        </pc:sldMkLst>
        <pc:graphicFrameChg chg="mod">
          <ac:chgData name="Koen Verbeeck" userId="24d0e79a7fd977da" providerId="LiveId" clId="{3AD79700-AEF1-4BFE-BB5E-C115CFACCDB5}" dt="2024-04-21T12:12:59.344" v="892"/>
          <ac:graphicFrameMkLst>
            <pc:docMk/>
            <pc:sldMk cId="595672373" sldId="2147479217"/>
            <ac:graphicFrameMk id="4" creationId="{C58791C3-20F5-D1FD-C830-2871BBD97F2F}"/>
          </ac:graphicFrameMkLst>
        </pc:graphicFrameChg>
      </pc:sldChg>
      <pc:sldChg chg="del modTransition">
        <pc:chgData name="Koen Verbeeck" userId="24d0e79a7fd977da" providerId="LiveId" clId="{3AD79700-AEF1-4BFE-BB5E-C115CFACCDB5}" dt="2024-04-09T14:18:01.584" v="209" actId="47"/>
        <pc:sldMkLst>
          <pc:docMk/>
          <pc:sldMk cId="3434458835" sldId="2147479218"/>
        </pc:sldMkLst>
      </pc:sldChg>
      <pc:sldChg chg="addSp delSp modSp new mod modTransition modNotesTx">
        <pc:chgData name="Koen Verbeeck" userId="24d0e79a7fd977da" providerId="LiveId" clId="{3AD79700-AEF1-4BFE-BB5E-C115CFACCDB5}" dt="2024-04-10T12:30:33.297" v="870" actId="1076"/>
        <pc:sldMkLst>
          <pc:docMk/>
          <pc:sldMk cId="1266330668" sldId="2147479219"/>
        </pc:sldMkLst>
        <pc:spChg chg="mod">
          <ac:chgData name="Koen Verbeeck" userId="24d0e79a7fd977da" providerId="LiveId" clId="{3AD79700-AEF1-4BFE-BB5E-C115CFACCDB5}" dt="2024-04-10T12:30:30.043" v="869" actId="20577"/>
          <ac:spMkLst>
            <pc:docMk/>
            <pc:sldMk cId="1266330668" sldId="2147479219"/>
            <ac:spMk id="2" creationId="{572893E6-399E-24D7-1CF3-6AF5A94C7498}"/>
          </ac:spMkLst>
        </pc:spChg>
        <pc:spChg chg="del">
          <ac:chgData name="Koen Verbeeck" userId="24d0e79a7fd977da" providerId="LiveId" clId="{3AD79700-AEF1-4BFE-BB5E-C115CFACCDB5}" dt="2024-04-09T08:15:21.965" v="58" actId="478"/>
          <ac:spMkLst>
            <pc:docMk/>
            <pc:sldMk cId="1266330668" sldId="2147479219"/>
            <ac:spMk id="3" creationId="{CEF3B92D-F6C7-C578-C209-74523CD16F63}"/>
          </ac:spMkLst>
        </pc:spChg>
        <pc:picChg chg="add mod">
          <ac:chgData name="Koen Verbeeck" userId="24d0e79a7fd977da" providerId="LiveId" clId="{3AD79700-AEF1-4BFE-BB5E-C115CFACCDB5}" dt="2024-04-10T12:30:33.297" v="870" actId="1076"/>
          <ac:picMkLst>
            <pc:docMk/>
            <pc:sldMk cId="1266330668" sldId="2147479219"/>
            <ac:picMk id="5" creationId="{E9E5761D-D521-1840-45FD-126283ACC65C}"/>
          </ac:picMkLst>
        </pc:picChg>
      </pc:sldChg>
      <pc:sldChg chg="addSp delSp modSp new mod modTransition modAnim">
        <pc:chgData name="Koen Verbeeck" userId="24d0e79a7fd977da" providerId="LiveId" clId="{3AD79700-AEF1-4BFE-BB5E-C115CFACCDB5}" dt="2024-04-09T08:12:29.766" v="57"/>
        <pc:sldMkLst>
          <pc:docMk/>
          <pc:sldMk cId="1096694294" sldId="2147479220"/>
        </pc:sldMkLst>
        <pc:spChg chg="mod">
          <ac:chgData name="Koen Verbeeck" userId="24d0e79a7fd977da" providerId="LiveId" clId="{3AD79700-AEF1-4BFE-BB5E-C115CFACCDB5}" dt="2024-04-09T08:10:08.574" v="47" actId="20577"/>
          <ac:spMkLst>
            <pc:docMk/>
            <pc:sldMk cId="1096694294" sldId="2147479220"/>
            <ac:spMk id="2" creationId="{2C7E5876-0D3B-876F-8DAF-5AA768D749CA}"/>
          </ac:spMkLst>
        </pc:spChg>
        <pc:spChg chg="del">
          <ac:chgData name="Koen Verbeeck" userId="24d0e79a7fd977da" providerId="LiveId" clId="{3AD79700-AEF1-4BFE-BB5E-C115CFACCDB5}" dt="2024-04-09T08:10:13.830" v="48" actId="478"/>
          <ac:spMkLst>
            <pc:docMk/>
            <pc:sldMk cId="1096694294" sldId="2147479220"/>
            <ac:spMk id="3" creationId="{F02FB6C0-D4E7-9479-B59C-DAE19A9862AF}"/>
          </ac:spMkLst>
        </pc:spChg>
        <pc:picChg chg="add mod">
          <ac:chgData name="Koen Verbeeck" userId="24d0e79a7fd977da" providerId="LiveId" clId="{3AD79700-AEF1-4BFE-BB5E-C115CFACCDB5}" dt="2024-04-09T08:12:24.061" v="55" actId="1076"/>
          <ac:picMkLst>
            <pc:docMk/>
            <pc:sldMk cId="1096694294" sldId="2147479220"/>
            <ac:picMk id="5" creationId="{0C2B7358-B7C8-D0DC-770F-34DB428EB97B}"/>
          </ac:picMkLst>
        </pc:picChg>
        <pc:picChg chg="add mod">
          <ac:chgData name="Koen Verbeeck" userId="24d0e79a7fd977da" providerId="LiveId" clId="{3AD79700-AEF1-4BFE-BB5E-C115CFACCDB5}" dt="2024-04-09T08:12:05.777" v="52" actId="1076"/>
          <ac:picMkLst>
            <pc:docMk/>
            <pc:sldMk cId="1096694294" sldId="2147479220"/>
            <ac:picMk id="7" creationId="{DECC82E6-42F9-FC95-1AC2-43D89EB4AF75}"/>
          </ac:picMkLst>
        </pc:picChg>
      </pc:sldChg>
      <pc:sldChg chg="addSp delSp modSp new mod">
        <pc:chgData name="Koen Verbeeck" userId="24d0e79a7fd977da" providerId="LiveId" clId="{3AD79700-AEF1-4BFE-BB5E-C115CFACCDB5}" dt="2024-04-09T09:59:30.626" v="145" actId="1076"/>
        <pc:sldMkLst>
          <pc:docMk/>
          <pc:sldMk cId="2644239439" sldId="2147479221"/>
        </pc:sldMkLst>
        <pc:spChg chg="mod">
          <ac:chgData name="Koen Verbeeck" userId="24d0e79a7fd977da" providerId="LiveId" clId="{3AD79700-AEF1-4BFE-BB5E-C115CFACCDB5}" dt="2024-04-09T09:25:44.941" v="138"/>
          <ac:spMkLst>
            <pc:docMk/>
            <pc:sldMk cId="2644239439" sldId="2147479221"/>
            <ac:spMk id="2" creationId="{C6E7F3AC-AAB3-0E9E-BC3E-D3D01D7C320D}"/>
          </ac:spMkLst>
        </pc:spChg>
        <pc:spChg chg="del">
          <ac:chgData name="Koen Verbeeck" userId="24d0e79a7fd977da" providerId="LiveId" clId="{3AD79700-AEF1-4BFE-BB5E-C115CFACCDB5}" dt="2024-04-09T09:26:00.308" v="141" actId="478"/>
          <ac:spMkLst>
            <pc:docMk/>
            <pc:sldMk cId="2644239439" sldId="2147479221"/>
            <ac:spMk id="3" creationId="{D47DCFFB-6589-29FE-B184-B1CE8C5AD651}"/>
          </ac:spMkLst>
        </pc:spChg>
        <pc:picChg chg="add mod">
          <ac:chgData name="Koen Verbeeck" userId="24d0e79a7fd977da" providerId="LiveId" clId="{3AD79700-AEF1-4BFE-BB5E-C115CFACCDB5}" dt="2024-04-09T09:25:56.451" v="140" actId="1076"/>
          <ac:picMkLst>
            <pc:docMk/>
            <pc:sldMk cId="2644239439" sldId="2147479221"/>
            <ac:picMk id="5" creationId="{4A6232A9-88B1-98EC-DF6A-4EE1105417A1}"/>
          </ac:picMkLst>
        </pc:picChg>
        <pc:picChg chg="add mod">
          <ac:chgData name="Koen Verbeeck" userId="24d0e79a7fd977da" providerId="LiveId" clId="{3AD79700-AEF1-4BFE-BB5E-C115CFACCDB5}" dt="2024-04-09T09:59:30.626" v="145" actId="1076"/>
          <ac:picMkLst>
            <pc:docMk/>
            <pc:sldMk cId="2644239439" sldId="2147479221"/>
            <ac:picMk id="7" creationId="{45C253AF-914F-5F65-4E28-66625DA2BCE0}"/>
          </ac:picMkLst>
        </pc:picChg>
      </pc:sldChg>
      <pc:sldChg chg="addSp delSp modSp new mod">
        <pc:chgData name="Koen Verbeeck" userId="24d0e79a7fd977da" providerId="LiveId" clId="{3AD79700-AEF1-4BFE-BB5E-C115CFACCDB5}" dt="2024-04-09T14:15:44.428" v="182" actId="478"/>
        <pc:sldMkLst>
          <pc:docMk/>
          <pc:sldMk cId="3710042680" sldId="2147479222"/>
        </pc:sldMkLst>
        <pc:spChg chg="mod">
          <ac:chgData name="Koen Verbeeck" userId="24d0e79a7fd977da" providerId="LiveId" clId="{3AD79700-AEF1-4BFE-BB5E-C115CFACCDB5}" dt="2024-04-09T14:13:02.333" v="175" actId="20577"/>
          <ac:spMkLst>
            <pc:docMk/>
            <pc:sldMk cId="3710042680" sldId="2147479222"/>
            <ac:spMk id="2" creationId="{4AF0C73D-9F7A-8696-618B-FAFEF22DC54E}"/>
          </ac:spMkLst>
        </pc:spChg>
        <pc:spChg chg="del">
          <ac:chgData name="Koen Verbeeck" userId="24d0e79a7fd977da" providerId="LiveId" clId="{3AD79700-AEF1-4BFE-BB5E-C115CFACCDB5}" dt="2024-04-09T14:15:44.428" v="182" actId="478"/>
          <ac:spMkLst>
            <pc:docMk/>
            <pc:sldMk cId="3710042680" sldId="2147479222"/>
            <ac:spMk id="3" creationId="{9B19FC29-C4A1-C752-F853-330263813A43}"/>
          </ac:spMkLst>
        </pc:spChg>
        <pc:picChg chg="add mod">
          <ac:chgData name="Koen Verbeeck" userId="24d0e79a7fd977da" providerId="LiveId" clId="{3AD79700-AEF1-4BFE-BB5E-C115CFACCDB5}" dt="2024-04-09T14:15:40.864" v="181" actId="167"/>
          <ac:picMkLst>
            <pc:docMk/>
            <pc:sldMk cId="3710042680" sldId="2147479222"/>
            <ac:picMk id="1026" creationId="{4195C54A-8297-7A95-450A-D1BA772E4733}"/>
          </ac:picMkLst>
        </pc:picChg>
      </pc:sldChg>
      <pc:sldChg chg="addSp delSp modSp new mod delAnim modAnim">
        <pc:chgData name="Koen Verbeeck" userId="24d0e79a7fd977da" providerId="LiveId" clId="{3AD79700-AEF1-4BFE-BB5E-C115CFACCDB5}" dt="2024-04-10T12:16:31.088" v="642" actId="207"/>
        <pc:sldMkLst>
          <pc:docMk/>
          <pc:sldMk cId="471932632" sldId="2147479223"/>
        </pc:sldMkLst>
        <pc:spChg chg="mod">
          <ac:chgData name="Koen Verbeeck" userId="24d0e79a7fd977da" providerId="LiveId" clId="{3AD79700-AEF1-4BFE-BB5E-C115CFACCDB5}" dt="2024-04-09T14:16:18.260" v="199" actId="20577"/>
          <ac:spMkLst>
            <pc:docMk/>
            <pc:sldMk cId="471932632" sldId="2147479223"/>
            <ac:spMk id="2" creationId="{73A79D2B-2E18-F878-19F3-02DAC6907631}"/>
          </ac:spMkLst>
        </pc:spChg>
        <pc:spChg chg="del">
          <ac:chgData name="Koen Verbeeck" userId="24d0e79a7fd977da" providerId="LiveId" clId="{3AD79700-AEF1-4BFE-BB5E-C115CFACCDB5}" dt="2024-04-09T14:17:08.604" v="200" actId="478"/>
          <ac:spMkLst>
            <pc:docMk/>
            <pc:sldMk cId="471932632" sldId="2147479223"/>
            <ac:spMk id="3" creationId="{90D2A59B-7297-9307-F6ED-EFC163790757}"/>
          </ac:spMkLst>
        </pc:spChg>
        <pc:spChg chg="add del mod">
          <ac:chgData name="Koen Verbeeck" userId="24d0e79a7fd977da" providerId="LiveId" clId="{3AD79700-AEF1-4BFE-BB5E-C115CFACCDB5}" dt="2024-04-10T12:12:21.978" v="458" actId="478"/>
          <ac:spMkLst>
            <pc:docMk/>
            <pc:sldMk cId="471932632" sldId="2147479223"/>
            <ac:spMk id="6" creationId="{DB55E646-5D38-11F2-ECE6-718EE8944261}"/>
          </ac:spMkLst>
        </pc:spChg>
        <pc:spChg chg="add mod">
          <ac:chgData name="Koen Verbeeck" userId="24d0e79a7fd977da" providerId="LiveId" clId="{3AD79700-AEF1-4BFE-BB5E-C115CFACCDB5}" dt="2024-04-10T12:15:42.841" v="612" actId="14100"/>
          <ac:spMkLst>
            <pc:docMk/>
            <pc:sldMk cId="471932632" sldId="2147479223"/>
            <ac:spMk id="7" creationId="{F819E4FF-0F50-F100-1BDD-4F87079634B1}"/>
          </ac:spMkLst>
        </pc:spChg>
        <pc:spChg chg="add mod">
          <ac:chgData name="Koen Verbeeck" userId="24d0e79a7fd977da" providerId="LiveId" clId="{3AD79700-AEF1-4BFE-BB5E-C115CFACCDB5}" dt="2024-04-10T12:13:26.618" v="548" actId="1076"/>
          <ac:spMkLst>
            <pc:docMk/>
            <pc:sldMk cId="471932632" sldId="2147479223"/>
            <ac:spMk id="8" creationId="{42B4C6B5-FDEA-58AF-764A-BB0B7BE49019}"/>
          </ac:spMkLst>
        </pc:spChg>
        <pc:spChg chg="add mod">
          <ac:chgData name="Koen Verbeeck" userId="24d0e79a7fd977da" providerId="LiveId" clId="{3AD79700-AEF1-4BFE-BB5E-C115CFACCDB5}" dt="2024-04-10T12:13:42.986" v="552" actId="1076"/>
          <ac:spMkLst>
            <pc:docMk/>
            <pc:sldMk cId="471932632" sldId="2147479223"/>
            <ac:spMk id="9" creationId="{9D984628-93E4-9B36-E5F3-1A5CFF767745}"/>
          </ac:spMkLst>
        </pc:spChg>
        <pc:spChg chg="add mod">
          <ac:chgData name="Koen Verbeeck" userId="24d0e79a7fd977da" providerId="LiveId" clId="{3AD79700-AEF1-4BFE-BB5E-C115CFACCDB5}" dt="2024-04-10T12:14:17.361" v="581" actId="20577"/>
          <ac:spMkLst>
            <pc:docMk/>
            <pc:sldMk cId="471932632" sldId="2147479223"/>
            <ac:spMk id="10" creationId="{4FECFD54-76A4-FDE8-85BB-DF1927359B68}"/>
          </ac:spMkLst>
        </pc:spChg>
        <pc:spChg chg="add mod">
          <ac:chgData name="Koen Verbeeck" userId="24d0e79a7fd977da" providerId="LiveId" clId="{3AD79700-AEF1-4BFE-BB5E-C115CFACCDB5}" dt="2024-04-10T12:15:07.186" v="584" actId="208"/>
          <ac:spMkLst>
            <pc:docMk/>
            <pc:sldMk cId="471932632" sldId="2147479223"/>
            <ac:spMk id="11" creationId="{33AFBD8D-EAA9-3328-A170-9FD2F48927AB}"/>
          </ac:spMkLst>
        </pc:spChg>
        <pc:spChg chg="add mod">
          <ac:chgData name="Koen Verbeeck" userId="24d0e79a7fd977da" providerId="LiveId" clId="{3AD79700-AEF1-4BFE-BB5E-C115CFACCDB5}" dt="2024-04-10T12:15:31.942" v="611" actId="20577"/>
          <ac:spMkLst>
            <pc:docMk/>
            <pc:sldMk cId="471932632" sldId="2147479223"/>
            <ac:spMk id="12" creationId="{A8712466-18D2-BDDB-FEDD-8194AE0F0C9B}"/>
          </ac:spMkLst>
        </pc:spChg>
        <pc:spChg chg="add mod">
          <ac:chgData name="Koen Verbeeck" userId="24d0e79a7fd977da" providerId="LiveId" clId="{3AD79700-AEF1-4BFE-BB5E-C115CFACCDB5}" dt="2024-04-10T12:15:53.617" v="615" actId="14100"/>
          <ac:spMkLst>
            <pc:docMk/>
            <pc:sldMk cId="471932632" sldId="2147479223"/>
            <ac:spMk id="13" creationId="{3EDEBDC5-BB08-8743-E0DA-9631F452236A}"/>
          </ac:spMkLst>
        </pc:spChg>
        <pc:spChg chg="add mod">
          <ac:chgData name="Koen Verbeeck" userId="24d0e79a7fd977da" providerId="LiveId" clId="{3AD79700-AEF1-4BFE-BB5E-C115CFACCDB5}" dt="2024-04-10T12:16:08.532" v="632" actId="1076"/>
          <ac:spMkLst>
            <pc:docMk/>
            <pc:sldMk cId="471932632" sldId="2147479223"/>
            <ac:spMk id="14" creationId="{D09138E1-CD48-9E18-F9AF-26A75BA09763}"/>
          </ac:spMkLst>
        </pc:spChg>
        <pc:spChg chg="add mod">
          <ac:chgData name="Koen Verbeeck" userId="24d0e79a7fd977da" providerId="LiveId" clId="{3AD79700-AEF1-4BFE-BB5E-C115CFACCDB5}" dt="2024-04-10T12:16:20.309" v="635" actId="14100"/>
          <ac:spMkLst>
            <pc:docMk/>
            <pc:sldMk cId="471932632" sldId="2147479223"/>
            <ac:spMk id="15" creationId="{9ED5B6BF-CC86-8136-50A1-A774D709ECEB}"/>
          </ac:spMkLst>
        </pc:spChg>
        <pc:spChg chg="add mod">
          <ac:chgData name="Koen Verbeeck" userId="24d0e79a7fd977da" providerId="LiveId" clId="{3AD79700-AEF1-4BFE-BB5E-C115CFACCDB5}" dt="2024-04-10T12:16:31.088" v="642" actId="207"/>
          <ac:spMkLst>
            <pc:docMk/>
            <pc:sldMk cId="471932632" sldId="2147479223"/>
            <ac:spMk id="16" creationId="{7720E1A1-304C-EE6B-3FF9-B0EAF69C2F0E}"/>
          </ac:spMkLst>
        </pc:spChg>
        <pc:picChg chg="add mod">
          <ac:chgData name="Koen Verbeeck" userId="24d0e79a7fd977da" providerId="LiveId" clId="{3AD79700-AEF1-4BFE-BB5E-C115CFACCDB5}" dt="2024-04-09T14:17:14.921" v="204" actId="1076"/>
          <ac:picMkLst>
            <pc:docMk/>
            <pc:sldMk cId="471932632" sldId="2147479223"/>
            <ac:picMk id="5" creationId="{0F6D3EBD-13B4-2B44-1F0F-7A99FE90B220}"/>
          </ac:picMkLst>
        </pc:picChg>
      </pc:sldChg>
      <pc:sldChg chg="modSp new mod">
        <pc:chgData name="Koen Verbeeck" userId="24d0e79a7fd977da" providerId="LiveId" clId="{3AD79700-AEF1-4BFE-BB5E-C115CFACCDB5}" dt="2024-04-10T12:00:36.358" v="223" actId="20577"/>
        <pc:sldMkLst>
          <pc:docMk/>
          <pc:sldMk cId="2400863756" sldId="2147479224"/>
        </pc:sldMkLst>
        <pc:spChg chg="mod">
          <ac:chgData name="Koen Verbeeck" userId="24d0e79a7fd977da" providerId="LiveId" clId="{3AD79700-AEF1-4BFE-BB5E-C115CFACCDB5}" dt="2024-04-10T12:00:31.885" v="219" actId="20577"/>
          <ac:spMkLst>
            <pc:docMk/>
            <pc:sldMk cId="2400863756" sldId="2147479224"/>
            <ac:spMk id="2" creationId="{843E8F53-91A0-DB72-06BF-EC90D6F857B1}"/>
          </ac:spMkLst>
        </pc:spChg>
        <pc:spChg chg="mod">
          <ac:chgData name="Koen Verbeeck" userId="24d0e79a7fd977da" providerId="LiveId" clId="{3AD79700-AEF1-4BFE-BB5E-C115CFACCDB5}" dt="2024-04-10T12:00:36.358" v="223" actId="20577"/>
          <ac:spMkLst>
            <pc:docMk/>
            <pc:sldMk cId="2400863756" sldId="2147479224"/>
            <ac:spMk id="3" creationId="{C8498654-97BC-987F-BBBD-854D331C9C37}"/>
          </ac:spMkLst>
        </pc:spChg>
      </pc:sldChg>
      <pc:sldChg chg="modSp new mod">
        <pc:chgData name="Koen Verbeeck" userId="24d0e79a7fd977da" providerId="LiveId" clId="{3AD79700-AEF1-4BFE-BB5E-C115CFACCDB5}" dt="2024-04-10T12:02:20.754" v="236"/>
        <pc:sldMkLst>
          <pc:docMk/>
          <pc:sldMk cId="1342298943" sldId="2147479225"/>
        </pc:sldMkLst>
        <pc:spChg chg="mod">
          <ac:chgData name="Koen Verbeeck" userId="24d0e79a7fd977da" providerId="LiveId" clId="{3AD79700-AEF1-4BFE-BB5E-C115CFACCDB5}" dt="2024-04-10T12:02:18.685" v="233" actId="20577"/>
          <ac:spMkLst>
            <pc:docMk/>
            <pc:sldMk cId="1342298943" sldId="2147479225"/>
            <ac:spMk id="2" creationId="{82AED8F2-E66A-D430-8553-DDE6791B5EA7}"/>
          </ac:spMkLst>
        </pc:spChg>
        <pc:spChg chg="mod">
          <ac:chgData name="Koen Verbeeck" userId="24d0e79a7fd977da" providerId="LiveId" clId="{3AD79700-AEF1-4BFE-BB5E-C115CFACCDB5}" dt="2024-04-10T12:02:20.754" v="236"/>
          <ac:spMkLst>
            <pc:docMk/>
            <pc:sldMk cId="1342298943" sldId="2147479225"/>
            <ac:spMk id="3" creationId="{1B877D67-D6A4-150B-0BA2-954FA88689B0}"/>
          </ac:spMkLst>
        </pc:spChg>
      </pc:sldChg>
      <pc:sldChg chg="addSp delSp modSp new mod">
        <pc:chgData name="Koen Verbeeck" userId="24d0e79a7fd977da" providerId="LiveId" clId="{3AD79700-AEF1-4BFE-BB5E-C115CFACCDB5}" dt="2024-04-10T12:11:30.562" v="453" actId="1076"/>
        <pc:sldMkLst>
          <pc:docMk/>
          <pc:sldMk cId="732688317" sldId="2147479226"/>
        </pc:sldMkLst>
        <pc:spChg chg="mod">
          <ac:chgData name="Koen Verbeeck" userId="24d0e79a7fd977da" providerId="LiveId" clId="{3AD79700-AEF1-4BFE-BB5E-C115CFACCDB5}" dt="2024-04-10T12:04:46.705" v="256" actId="20577"/>
          <ac:spMkLst>
            <pc:docMk/>
            <pc:sldMk cId="732688317" sldId="2147479226"/>
            <ac:spMk id="2" creationId="{6C89E4F8-1060-6919-2200-15359CD06743}"/>
          </ac:spMkLst>
        </pc:spChg>
        <pc:spChg chg="del">
          <ac:chgData name="Koen Verbeeck" userId="24d0e79a7fd977da" providerId="LiveId" clId="{3AD79700-AEF1-4BFE-BB5E-C115CFACCDB5}" dt="2024-04-10T12:07:28.653" v="352" actId="478"/>
          <ac:spMkLst>
            <pc:docMk/>
            <pc:sldMk cId="732688317" sldId="2147479226"/>
            <ac:spMk id="3" creationId="{A4C595FA-6063-68A5-2961-73EDE932B69C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5" creationId="{15B7A1ED-62DF-1D27-C3FC-2F6B5D93F8DE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6" creationId="{F233EB96-9527-3147-DC64-F66364C24211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7" creationId="{C48E1F17-8D6F-7B24-CCED-C607F2795FBA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8" creationId="{9BE160AB-5D5F-BB92-C969-921E2A7CA19C}"/>
          </ac:spMkLst>
        </pc:spChg>
        <pc:spChg chg="add mod">
          <ac:chgData name="Koen Verbeeck" userId="24d0e79a7fd977da" providerId="LiveId" clId="{3AD79700-AEF1-4BFE-BB5E-C115CFACCDB5}" dt="2024-04-10T12:10:46.534" v="417" actId="164"/>
          <ac:spMkLst>
            <pc:docMk/>
            <pc:sldMk cId="732688317" sldId="2147479226"/>
            <ac:spMk id="9" creationId="{4F9BAC7B-3BD7-253F-9CB3-4183CED8BA3B}"/>
          </ac:spMkLst>
        </pc:spChg>
        <pc:spChg chg="add mod">
          <ac:chgData name="Koen Verbeeck" userId="24d0e79a7fd977da" providerId="LiveId" clId="{3AD79700-AEF1-4BFE-BB5E-C115CFACCDB5}" dt="2024-04-10T12:10:46.534" v="417" actId="164"/>
          <ac:spMkLst>
            <pc:docMk/>
            <pc:sldMk cId="732688317" sldId="2147479226"/>
            <ac:spMk id="10" creationId="{2F72FE17-D7F2-656F-13C0-62F893C325D6}"/>
          </ac:spMkLst>
        </pc:spChg>
        <pc:spChg chg="add del mod">
          <ac:chgData name="Koen Verbeeck" userId="24d0e79a7fd977da" providerId="LiveId" clId="{3AD79700-AEF1-4BFE-BB5E-C115CFACCDB5}" dt="2024-04-10T12:09:01.571" v="378" actId="478"/>
          <ac:spMkLst>
            <pc:docMk/>
            <pc:sldMk cId="732688317" sldId="2147479226"/>
            <ac:spMk id="11" creationId="{9AB2BF4B-BE75-9687-80F6-DAC9338F0AB3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12" creationId="{636417C1-E047-0CCF-554F-E7B86C009114}"/>
          </ac:spMkLst>
        </pc:spChg>
        <pc:spChg chg="add mod">
          <ac:chgData name="Koen Verbeeck" userId="24d0e79a7fd977da" providerId="LiveId" clId="{3AD79700-AEF1-4BFE-BB5E-C115CFACCDB5}" dt="2024-04-10T12:10:51.946" v="418" actId="164"/>
          <ac:spMkLst>
            <pc:docMk/>
            <pc:sldMk cId="732688317" sldId="2147479226"/>
            <ac:spMk id="13" creationId="{209C3ECA-8CEC-196B-0E98-7027E6946402}"/>
          </ac:spMkLst>
        </pc:spChg>
        <pc:spChg chg="add mod">
          <ac:chgData name="Koen Verbeeck" userId="24d0e79a7fd977da" providerId="LiveId" clId="{3AD79700-AEF1-4BFE-BB5E-C115CFACCDB5}" dt="2024-04-10T12:10:51.946" v="418" actId="164"/>
          <ac:spMkLst>
            <pc:docMk/>
            <pc:sldMk cId="732688317" sldId="2147479226"/>
            <ac:spMk id="14" creationId="{158E3A5D-C91F-B8C5-9E06-1D4F6F77903E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15" creationId="{7728E823-E129-BA42-DD8A-69188D9C1C77}"/>
          </ac:spMkLst>
        </pc:spChg>
        <pc:spChg chg="mod">
          <ac:chgData name="Koen Verbeeck" userId="24d0e79a7fd977da" providerId="LiveId" clId="{3AD79700-AEF1-4BFE-BB5E-C115CFACCDB5}" dt="2024-04-10T12:10:54.526" v="419"/>
          <ac:spMkLst>
            <pc:docMk/>
            <pc:sldMk cId="732688317" sldId="2147479226"/>
            <ac:spMk id="19" creationId="{9C183E6B-1016-6230-1D25-DF6A23F814B0}"/>
          </ac:spMkLst>
        </pc:spChg>
        <pc:spChg chg="mod">
          <ac:chgData name="Koen Verbeeck" userId="24d0e79a7fd977da" providerId="LiveId" clId="{3AD79700-AEF1-4BFE-BB5E-C115CFACCDB5}" dt="2024-04-10T12:10:54.526" v="419"/>
          <ac:spMkLst>
            <pc:docMk/>
            <pc:sldMk cId="732688317" sldId="2147479226"/>
            <ac:spMk id="20" creationId="{0AE0B93F-27AA-CD1A-0EF5-53DF578079BC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21" creationId="{5EC26CDF-2709-68B1-7526-9AFC64230AD0}"/>
          </ac:spMkLst>
        </pc:spChg>
        <pc:spChg chg="mod">
          <ac:chgData name="Koen Verbeeck" userId="24d0e79a7fd977da" providerId="LiveId" clId="{3AD79700-AEF1-4BFE-BB5E-C115CFACCDB5}" dt="2024-04-10T12:11:13.154" v="443"/>
          <ac:spMkLst>
            <pc:docMk/>
            <pc:sldMk cId="732688317" sldId="2147479226"/>
            <ac:spMk id="23" creationId="{14A355C3-F981-2C6C-8FB3-D892845F549D}"/>
          </ac:spMkLst>
        </pc:spChg>
        <pc:spChg chg="mod">
          <ac:chgData name="Koen Verbeeck" userId="24d0e79a7fd977da" providerId="LiveId" clId="{3AD79700-AEF1-4BFE-BB5E-C115CFACCDB5}" dt="2024-04-10T12:11:13.154" v="443"/>
          <ac:spMkLst>
            <pc:docMk/>
            <pc:sldMk cId="732688317" sldId="2147479226"/>
            <ac:spMk id="24" creationId="{9637DAA1-0292-70B9-8295-E2674E4E9F63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25" creationId="{D052208E-AD50-7EF8-E782-19A6D02171B8}"/>
          </ac:spMkLst>
        </pc:spChg>
        <pc:grpChg chg="add mod">
          <ac:chgData name="Koen Verbeeck" userId="24d0e79a7fd977da" providerId="LiveId" clId="{3AD79700-AEF1-4BFE-BB5E-C115CFACCDB5}" dt="2024-04-10T12:11:30.562" v="453" actId="1076"/>
          <ac:grpSpMkLst>
            <pc:docMk/>
            <pc:sldMk cId="732688317" sldId="2147479226"/>
            <ac:grpSpMk id="16" creationId="{0CEFC580-ADE6-22B3-7447-6210726613E4}"/>
          </ac:grpSpMkLst>
        </pc:grpChg>
        <pc:grpChg chg="add mod">
          <ac:chgData name="Koen Verbeeck" userId="24d0e79a7fd977da" providerId="LiveId" clId="{3AD79700-AEF1-4BFE-BB5E-C115CFACCDB5}" dt="2024-04-10T12:11:30.562" v="453" actId="1076"/>
          <ac:grpSpMkLst>
            <pc:docMk/>
            <pc:sldMk cId="732688317" sldId="2147479226"/>
            <ac:grpSpMk id="17" creationId="{E73849B6-B096-6ADA-869A-81210AD64B44}"/>
          </ac:grpSpMkLst>
        </pc:grpChg>
        <pc:grpChg chg="add mod">
          <ac:chgData name="Koen Verbeeck" userId="24d0e79a7fd977da" providerId="LiveId" clId="{3AD79700-AEF1-4BFE-BB5E-C115CFACCDB5}" dt="2024-04-10T12:11:30.562" v="453" actId="1076"/>
          <ac:grpSpMkLst>
            <pc:docMk/>
            <pc:sldMk cId="732688317" sldId="2147479226"/>
            <ac:grpSpMk id="18" creationId="{D48FCC33-E8F0-88F0-2C81-7D05E328270D}"/>
          </ac:grpSpMkLst>
        </pc:grpChg>
        <pc:grpChg chg="add mod">
          <ac:chgData name="Koen Verbeeck" userId="24d0e79a7fd977da" providerId="LiveId" clId="{3AD79700-AEF1-4BFE-BB5E-C115CFACCDB5}" dt="2024-04-10T12:11:30.562" v="453" actId="1076"/>
          <ac:grpSpMkLst>
            <pc:docMk/>
            <pc:sldMk cId="732688317" sldId="2147479226"/>
            <ac:grpSpMk id="22" creationId="{38784CA2-18C4-E934-A61E-BAFC718836FB}"/>
          </ac:grpSpMkLst>
        </pc:grpChg>
        <pc:picChg chg="add mod">
          <ac:chgData name="Koen Verbeeck" userId="24d0e79a7fd977da" providerId="LiveId" clId="{3AD79700-AEF1-4BFE-BB5E-C115CFACCDB5}" dt="2024-04-10T12:11:30.562" v="453" actId="1076"/>
          <ac:picMkLst>
            <pc:docMk/>
            <pc:sldMk cId="732688317" sldId="2147479226"/>
            <ac:picMk id="4" creationId="{E4DF17B5-F2E9-E12F-AB80-746B49FFA928}"/>
          </ac:picMkLst>
        </pc:picChg>
      </pc:sldChg>
      <pc:sldChg chg="addSp modSp add mod ord">
        <pc:chgData name="Koen Verbeeck" userId="24d0e79a7fd977da" providerId="LiveId" clId="{3AD79700-AEF1-4BFE-BB5E-C115CFACCDB5}" dt="2024-04-10T12:20:28.570" v="778" actId="1038"/>
        <pc:sldMkLst>
          <pc:docMk/>
          <pc:sldMk cId="3374525539" sldId="2147479227"/>
        </pc:sldMkLst>
        <pc:spChg chg="mod">
          <ac:chgData name="Koen Verbeeck" userId="24d0e79a7fd977da" providerId="LiveId" clId="{3AD79700-AEF1-4BFE-BB5E-C115CFACCDB5}" dt="2024-04-10T12:17:20.130" v="647" actId="20577"/>
          <ac:spMkLst>
            <pc:docMk/>
            <pc:sldMk cId="3374525539" sldId="2147479227"/>
            <ac:spMk id="2" creationId="{6C89E4F8-1060-6919-2200-15359CD06743}"/>
          </ac:spMkLst>
        </pc:spChg>
        <pc:spChg chg="add 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3" creationId="{96A76518-5DA7-281A-41CF-A40AD7AF3D23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5" creationId="{15B7A1ED-62DF-1D27-C3FC-2F6B5D93F8DE}"/>
          </ac:spMkLst>
        </pc:spChg>
        <pc:spChg chg="mod">
          <ac:chgData name="Koen Verbeeck" userId="24d0e79a7fd977da" providerId="LiveId" clId="{3AD79700-AEF1-4BFE-BB5E-C115CFACCDB5}" dt="2024-04-10T12:20:28.570" v="778" actId="1038"/>
          <ac:spMkLst>
            <pc:docMk/>
            <pc:sldMk cId="3374525539" sldId="2147479227"/>
            <ac:spMk id="6" creationId="{F233EB96-9527-3147-DC64-F66364C24211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7" creationId="{C48E1F17-8D6F-7B24-CCED-C607F2795FBA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8" creationId="{9BE160AB-5D5F-BB92-C969-921E2A7CA19C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12" creationId="{636417C1-E047-0CCF-554F-E7B86C009114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15" creationId="{7728E823-E129-BA42-DD8A-69188D9C1C77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21" creationId="{5EC26CDF-2709-68B1-7526-9AFC64230AD0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25" creationId="{D052208E-AD50-7EF8-E782-19A6D02171B8}"/>
          </ac:spMkLst>
        </pc:spChg>
        <pc:spChg chg="mod">
          <ac:chgData name="Koen Verbeeck" userId="24d0e79a7fd977da" providerId="LiveId" clId="{3AD79700-AEF1-4BFE-BB5E-C115CFACCDB5}" dt="2024-04-10T12:18:36.915" v="691"/>
          <ac:spMkLst>
            <pc:docMk/>
            <pc:sldMk cId="3374525539" sldId="2147479227"/>
            <ac:spMk id="26" creationId="{09D8B417-FDA7-8F62-0C91-9E4E9E00E88C}"/>
          </ac:spMkLst>
        </pc:spChg>
        <pc:spChg chg="mod">
          <ac:chgData name="Koen Verbeeck" userId="24d0e79a7fd977da" providerId="LiveId" clId="{3AD79700-AEF1-4BFE-BB5E-C115CFACCDB5}" dt="2024-04-10T12:18:36.915" v="691"/>
          <ac:spMkLst>
            <pc:docMk/>
            <pc:sldMk cId="3374525539" sldId="2147479227"/>
            <ac:spMk id="27" creationId="{EB1D29D8-36FA-B016-1F5E-EAB0D2EFEAC5}"/>
          </ac:spMkLst>
        </pc:spChg>
        <pc:spChg chg="add 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28" creationId="{72B9E146-09CC-68FB-CD45-112E738B67D8}"/>
          </ac:spMkLst>
        </pc:spChg>
        <pc:spChg chg="mod">
          <ac:chgData name="Koen Verbeeck" userId="24d0e79a7fd977da" providerId="LiveId" clId="{3AD79700-AEF1-4BFE-BB5E-C115CFACCDB5}" dt="2024-04-10T12:19:18.617" v="746"/>
          <ac:spMkLst>
            <pc:docMk/>
            <pc:sldMk cId="3374525539" sldId="2147479227"/>
            <ac:spMk id="30" creationId="{FE71AD4D-62E2-BBAF-4A60-C4DC08011C84}"/>
          </ac:spMkLst>
        </pc:spChg>
        <pc:spChg chg="mod">
          <ac:chgData name="Koen Verbeeck" userId="24d0e79a7fd977da" providerId="LiveId" clId="{3AD79700-AEF1-4BFE-BB5E-C115CFACCDB5}" dt="2024-04-10T12:19:18.617" v="746"/>
          <ac:spMkLst>
            <pc:docMk/>
            <pc:sldMk cId="3374525539" sldId="2147479227"/>
            <ac:spMk id="31" creationId="{3B8B06AA-CD71-4A97-3D6D-16DE3C003BDE}"/>
          </ac:spMkLst>
        </pc:spChg>
        <pc:grpChg chg="add 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11" creationId="{965CCB23-977B-EB1F-EE74-CA75BBC275EC}"/>
          </ac:grpSpMkLst>
        </pc:grpChg>
        <pc:grpChg chg="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16" creationId="{0CEFC580-ADE6-22B3-7447-6210726613E4}"/>
          </ac:grpSpMkLst>
        </pc:grpChg>
        <pc:grpChg chg="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17" creationId="{E73849B6-B096-6ADA-869A-81210AD64B44}"/>
          </ac:grpSpMkLst>
        </pc:grpChg>
        <pc:grpChg chg="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18" creationId="{D48FCC33-E8F0-88F0-2C81-7D05E328270D}"/>
          </ac:grpSpMkLst>
        </pc:grpChg>
        <pc:grpChg chg="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22" creationId="{38784CA2-18C4-E934-A61E-BAFC718836FB}"/>
          </ac:grpSpMkLst>
        </pc:grpChg>
        <pc:grpChg chg="add 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29" creationId="{3F3816A0-EF78-FC1D-6268-605C840649CE}"/>
          </ac:grpSpMkLst>
        </pc:grpChg>
        <pc:picChg chg="mod">
          <ac:chgData name="Koen Verbeeck" userId="24d0e79a7fd977da" providerId="LiveId" clId="{3AD79700-AEF1-4BFE-BB5E-C115CFACCDB5}" dt="2024-04-10T12:20:28.570" v="778" actId="1038"/>
          <ac:picMkLst>
            <pc:docMk/>
            <pc:sldMk cId="3374525539" sldId="2147479227"/>
            <ac:picMk id="4" creationId="{E4DF17B5-F2E9-E12F-AB80-746B49FFA928}"/>
          </ac:picMkLst>
        </pc:picChg>
      </pc:sldChg>
      <pc:sldChg chg="addSp delSp modSp new mod modAnim">
        <pc:chgData name="Koen Verbeeck" userId="24d0e79a7fd977da" providerId="LiveId" clId="{3AD79700-AEF1-4BFE-BB5E-C115CFACCDB5}" dt="2024-04-10T12:24:31.016" v="824" actId="20577"/>
        <pc:sldMkLst>
          <pc:docMk/>
          <pc:sldMk cId="3816817276" sldId="2147479228"/>
        </pc:sldMkLst>
        <pc:spChg chg="mod">
          <ac:chgData name="Koen Verbeeck" userId="24d0e79a7fd977da" providerId="LiveId" clId="{3AD79700-AEF1-4BFE-BB5E-C115CFACCDB5}" dt="2024-04-10T12:19:49.258" v="765" actId="20577"/>
          <ac:spMkLst>
            <pc:docMk/>
            <pc:sldMk cId="3816817276" sldId="2147479228"/>
            <ac:spMk id="2" creationId="{92A73F08-7D07-F1AD-8AF3-3663729E69A0}"/>
          </ac:spMkLst>
        </pc:spChg>
        <pc:spChg chg="del">
          <ac:chgData name="Koen Verbeeck" userId="24d0e79a7fd977da" providerId="LiveId" clId="{3AD79700-AEF1-4BFE-BB5E-C115CFACCDB5}" dt="2024-04-10T12:22:40.562" v="779" actId="478"/>
          <ac:spMkLst>
            <pc:docMk/>
            <pc:sldMk cId="3816817276" sldId="2147479228"/>
            <ac:spMk id="3" creationId="{A9E725CE-1DEA-14B9-4A10-A68404A007EF}"/>
          </ac:spMkLst>
        </pc:spChg>
        <pc:spChg chg="add mod">
          <ac:chgData name="Koen Verbeeck" userId="24d0e79a7fd977da" providerId="LiveId" clId="{3AD79700-AEF1-4BFE-BB5E-C115CFACCDB5}" dt="2024-04-10T12:23:10.108" v="786" actId="14100"/>
          <ac:spMkLst>
            <pc:docMk/>
            <pc:sldMk cId="3816817276" sldId="2147479228"/>
            <ac:spMk id="6" creationId="{0314B4AF-AA97-B917-D416-A248228E396C}"/>
          </ac:spMkLst>
        </pc:spChg>
        <pc:spChg chg="add mod">
          <ac:chgData name="Koen Verbeeck" userId="24d0e79a7fd977da" providerId="LiveId" clId="{3AD79700-AEF1-4BFE-BB5E-C115CFACCDB5}" dt="2024-04-10T12:23:17.991" v="796" actId="14100"/>
          <ac:spMkLst>
            <pc:docMk/>
            <pc:sldMk cId="3816817276" sldId="2147479228"/>
            <ac:spMk id="7" creationId="{47F6FF57-2547-C01A-ADEF-41FD2C25D0DB}"/>
          </ac:spMkLst>
        </pc:spChg>
        <pc:spChg chg="add mod">
          <ac:chgData name="Koen Verbeeck" userId="24d0e79a7fd977da" providerId="LiveId" clId="{3AD79700-AEF1-4BFE-BB5E-C115CFACCDB5}" dt="2024-04-10T12:23:28.227" v="798" actId="1076"/>
          <ac:spMkLst>
            <pc:docMk/>
            <pc:sldMk cId="3816817276" sldId="2147479228"/>
            <ac:spMk id="8" creationId="{7E2B2FC3-A9DE-009F-D262-FD24D62F946B}"/>
          </ac:spMkLst>
        </pc:spChg>
        <pc:spChg chg="add mod">
          <ac:chgData name="Koen Verbeeck" userId="24d0e79a7fd977da" providerId="LiveId" clId="{3AD79700-AEF1-4BFE-BB5E-C115CFACCDB5}" dt="2024-04-10T12:23:37.847" v="812" actId="14100"/>
          <ac:spMkLst>
            <pc:docMk/>
            <pc:sldMk cId="3816817276" sldId="2147479228"/>
            <ac:spMk id="9" creationId="{CDBFC56C-747D-E3F0-2531-A67994D0A05C}"/>
          </ac:spMkLst>
        </pc:spChg>
        <pc:spChg chg="add mod">
          <ac:chgData name="Koen Verbeeck" userId="24d0e79a7fd977da" providerId="LiveId" clId="{3AD79700-AEF1-4BFE-BB5E-C115CFACCDB5}" dt="2024-04-10T12:23:45.283" v="814" actId="1076"/>
          <ac:spMkLst>
            <pc:docMk/>
            <pc:sldMk cId="3816817276" sldId="2147479228"/>
            <ac:spMk id="10" creationId="{40EFD9C4-3405-B08D-732F-8017609B1FE5}"/>
          </ac:spMkLst>
        </pc:spChg>
        <pc:spChg chg="add mod">
          <ac:chgData name="Koen Verbeeck" userId="24d0e79a7fd977da" providerId="LiveId" clId="{3AD79700-AEF1-4BFE-BB5E-C115CFACCDB5}" dt="2024-04-10T12:24:10.205" v="818" actId="14100"/>
          <ac:spMkLst>
            <pc:docMk/>
            <pc:sldMk cId="3816817276" sldId="2147479228"/>
            <ac:spMk id="11" creationId="{9D699C9B-4E72-89BA-3512-E01F021AB8E9}"/>
          </ac:spMkLst>
        </pc:spChg>
        <pc:spChg chg="add mod">
          <ac:chgData name="Koen Verbeeck" userId="24d0e79a7fd977da" providerId="LiveId" clId="{3AD79700-AEF1-4BFE-BB5E-C115CFACCDB5}" dt="2024-04-10T12:24:13.929" v="819" actId="1076"/>
          <ac:spMkLst>
            <pc:docMk/>
            <pc:sldMk cId="3816817276" sldId="2147479228"/>
            <ac:spMk id="12" creationId="{2308027C-B4E4-E015-C632-5FA0B385D120}"/>
          </ac:spMkLst>
        </pc:spChg>
        <pc:spChg chg="add mod">
          <ac:chgData name="Koen Verbeeck" userId="24d0e79a7fd977da" providerId="LiveId" clId="{3AD79700-AEF1-4BFE-BB5E-C115CFACCDB5}" dt="2024-04-10T12:24:29.677" v="822" actId="14100"/>
          <ac:spMkLst>
            <pc:docMk/>
            <pc:sldMk cId="3816817276" sldId="2147479228"/>
            <ac:spMk id="13" creationId="{EB08D9EE-69DD-C78D-7B4D-F0740509202D}"/>
          </ac:spMkLst>
        </pc:spChg>
        <pc:spChg chg="add mod">
          <ac:chgData name="Koen Verbeeck" userId="24d0e79a7fd977da" providerId="LiveId" clId="{3AD79700-AEF1-4BFE-BB5E-C115CFACCDB5}" dt="2024-04-10T12:24:31.016" v="824" actId="20577"/>
          <ac:spMkLst>
            <pc:docMk/>
            <pc:sldMk cId="3816817276" sldId="2147479228"/>
            <ac:spMk id="14" creationId="{5B68AED8-6D7F-871C-0B3C-C079DBD4AA13}"/>
          </ac:spMkLst>
        </pc:spChg>
        <pc:picChg chg="add mod">
          <ac:chgData name="Koen Verbeeck" userId="24d0e79a7fd977da" providerId="LiveId" clId="{3AD79700-AEF1-4BFE-BB5E-C115CFACCDB5}" dt="2024-04-10T12:23:12.805" v="788" actId="1076"/>
          <ac:picMkLst>
            <pc:docMk/>
            <pc:sldMk cId="3816817276" sldId="2147479228"/>
            <ac:picMk id="5" creationId="{52E25672-6316-CC88-2970-D5B8E6AA4F58}"/>
          </ac:picMkLst>
        </pc:picChg>
      </pc:sldChg>
      <pc:sldChg chg="addSp delSp modSp add mod modAnim modNotesTx">
        <pc:chgData name="Koen Verbeeck" userId="24d0e79a7fd977da" providerId="LiveId" clId="{3AD79700-AEF1-4BFE-BB5E-C115CFACCDB5}" dt="2024-04-21T13:09:39.164" v="919"/>
        <pc:sldMkLst>
          <pc:docMk/>
          <pc:sldMk cId="3826902162" sldId="2147479229"/>
        </pc:sldMkLst>
        <pc:spChg chg="mod">
          <ac:chgData name="Koen Verbeeck" userId="24d0e79a7fd977da" providerId="LiveId" clId="{3AD79700-AEF1-4BFE-BB5E-C115CFACCDB5}" dt="2024-04-21T12:54:32.812" v="912" actId="20577"/>
          <ac:spMkLst>
            <pc:docMk/>
            <pc:sldMk cId="3826902162" sldId="2147479229"/>
            <ac:spMk id="2" creationId="{572893E6-399E-24D7-1CF3-6AF5A94C7498}"/>
          </ac:spMkLst>
        </pc:spChg>
        <pc:spChg chg="add mod">
          <ac:chgData name="Koen Verbeeck" userId="24d0e79a7fd977da" providerId="LiveId" clId="{3AD79700-AEF1-4BFE-BB5E-C115CFACCDB5}" dt="2024-04-21T13:09:18.340" v="915" actId="14100"/>
          <ac:spMkLst>
            <pc:docMk/>
            <pc:sldMk cId="3826902162" sldId="2147479229"/>
            <ac:spMk id="3" creationId="{DF00819B-AD31-D629-9771-B04FB7230103}"/>
          </ac:spMkLst>
        </pc:spChg>
        <pc:picChg chg="add mod">
          <ac:chgData name="Koen Verbeeck" userId="24d0e79a7fd977da" providerId="LiveId" clId="{3AD79700-AEF1-4BFE-BB5E-C115CFACCDB5}" dt="2024-04-10T12:30:20.169" v="865" actId="1076"/>
          <ac:picMkLst>
            <pc:docMk/>
            <pc:sldMk cId="3826902162" sldId="2147479229"/>
            <ac:picMk id="4" creationId="{83F7889E-FEA3-8994-F34B-F6F95CB0D647}"/>
          </ac:picMkLst>
        </pc:picChg>
        <pc:picChg chg="del">
          <ac:chgData name="Koen Verbeeck" userId="24d0e79a7fd977da" providerId="LiveId" clId="{3AD79700-AEF1-4BFE-BB5E-C115CFACCDB5}" dt="2024-04-10T12:28:51.634" v="850" actId="478"/>
          <ac:picMkLst>
            <pc:docMk/>
            <pc:sldMk cId="3826902162" sldId="2147479229"/>
            <ac:picMk id="5" creationId="{E9E5761D-D521-1840-45FD-126283ACC65C}"/>
          </ac:picMkLst>
        </pc:picChg>
        <pc:picChg chg="add mod">
          <ac:chgData name="Koen Verbeeck" userId="24d0e79a7fd977da" providerId="LiveId" clId="{3AD79700-AEF1-4BFE-BB5E-C115CFACCDB5}" dt="2024-04-10T12:30:20.169" v="865" actId="1076"/>
          <ac:picMkLst>
            <pc:docMk/>
            <pc:sldMk cId="3826902162" sldId="2147479229"/>
            <ac:picMk id="7" creationId="{6DC710F5-136C-D1D9-E660-4D56E4EAC1E9}"/>
          </ac:picMkLst>
        </pc:picChg>
        <pc:picChg chg="add mod">
          <ac:chgData name="Koen Verbeeck" userId="24d0e79a7fd977da" providerId="LiveId" clId="{3AD79700-AEF1-4BFE-BB5E-C115CFACCDB5}" dt="2024-04-10T12:30:06.355" v="864"/>
          <ac:picMkLst>
            <pc:docMk/>
            <pc:sldMk cId="3826902162" sldId="2147479229"/>
            <ac:picMk id="11" creationId="{BF98153F-8FBF-FD4D-B976-1B130C119BC2}"/>
          </ac:picMkLst>
        </pc:picChg>
        <pc:cxnChg chg="add mod">
          <ac:chgData name="Koen Verbeeck" userId="24d0e79a7fd977da" providerId="LiveId" clId="{3AD79700-AEF1-4BFE-BB5E-C115CFACCDB5}" dt="2024-04-21T13:09:26.274" v="918" actId="14100"/>
          <ac:cxnSpMkLst>
            <pc:docMk/>
            <pc:sldMk cId="3826902162" sldId="2147479229"/>
            <ac:cxnSpMk id="5" creationId="{1C22CC57-4DDC-8791-E4B0-21D5C17F5A40}"/>
          </ac:cxnSpMkLst>
        </pc:cxnChg>
        <pc:cxnChg chg="add mod">
          <ac:chgData name="Koen Verbeeck" userId="24d0e79a7fd977da" providerId="LiveId" clId="{3AD79700-AEF1-4BFE-BB5E-C115CFACCDB5}" dt="2024-04-10T12:30:20.169" v="865" actId="1076"/>
          <ac:cxnSpMkLst>
            <pc:docMk/>
            <pc:sldMk cId="3826902162" sldId="2147479229"/>
            <ac:cxnSpMk id="8" creationId="{6553957A-EE5D-43B6-66C0-CED1A048F064}"/>
          </ac:cxnSpMkLst>
        </pc:cxn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svg"/><Relationship Id="rId1" Type="http://schemas.openxmlformats.org/officeDocument/2006/relationships/image" Target="../media/image36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svg"/><Relationship Id="rId1" Type="http://schemas.openxmlformats.org/officeDocument/2006/relationships/image" Target="../media/image36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FA3C01-B46B-486A-A398-D6491D3485E9}" type="doc">
      <dgm:prSet loTypeId="urn:microsoft.com/office/officeart/2008/layout/Hexagon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BE"/>
        </a:p>
      </dgm:t>
    </dgm:pt>
    <dgm:pt modelId="{091FA419-B324-46AF-A19F-B426F2434F7C}">
      <dgm:prSet phldrT="[Text]"/>
      <dgm:spPr/>
      <dgm:t>
        <a:bodyPr/>
        <a:lstStyle/>
        <a:p>
          <a:r>
            <a:rPr lang="en-US" dirty="0"/>
            <a:t>single environment</a:t>
          </a:r>
          <a:endParaRPr lang="nl-BE" dirty="0"/>
        </a:p>
      </dgm:t>
    </dgm:pt>
    <dgm:pt modelId="{A06ADDFE-A758-4DBE-AA57-C50228C2C494}" type="parTrans" cxnId="{E42A21BF-4F26-4D4B-AD5E-2943576FCF4E}">
      <dgm:prSet/>
      <dgm:spPr/>
      <dgm:t>
        <a:bodyPr/>
        <a:lstStyle/>
        <a:p>
          <a:endParaRPr lang="nl-BE"/>
        </a:p>
      </dgm:t>
    </dgm:pt>
    <dgm:pt modelId="{54A635B4-3E97-40FC-A001-FCD0DB93A4B2}" type="sibTrans" cxnId="{E42A21BF-4F26-4D4B-AD5E-2943576FCF4E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nl-BE"/>
        </a:p>
      </dgm:t>
      <dgm:extLst>
        <a:ext uri="{E40237B7-FDA0-4F09-8148-C483321AD2D9}">
          <dgm14:cNvPr xmlns:dgm14="http://schemas.microsoft.com/office/drawing/2010/diagram" id="0" name="" descr="Database with solid fill"/>
        </a:ext>
      </dgm:extLst>
    </dgm:pt>
    <dgm:pt modelId="{65F40D74-476D-4254-AE7E-8BF60928237E}">
      <dgm:prSet phldrT="[Text]"/>
      <dgm:spPr/>
      <dgm:t>
        <a:bodyPr/>
        <a:lstStyle/>
        <a:p>
          <a:r>
            <a:rPr lang="en-US" dirty="0"/>
            <a:t>ETL/ELT once a day</a:t>
          </a:r>
          <a:endParaRPr lang="nl-BE" dirty="0"/>
        </a:p>
      </dgm:t>
    </dgm:pt>
    <dgm:pt modelId="{FECAC3ED-1400-4AA5-9A9B-43C5CE137AE3}" type="parTrans" cxnId="{5CC93E11-6407-44BB-9ECF-25B07C77EA96}">
      <dgm:prSet/>
      <dgm:spPr/>
      <dgm:t>
        <a:bodyPr/>
        <a:lstStyle/>
        <a:p>
          <a:endParaRPr lang="nl-BE"/>
        </a:p>
      </dgm:t>
    </dgm:pt>
    <dgm:pt modelId="{42E5942D-EFAC-4135-9760-095C0DA5CABF}" type="sibTrans" cxnId="{5CC93E11-6407-44BB-9ECF-25B07C77EA96}">
      <dgm:prSet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</dgm:spPr>
      <dgm:t>
        <a:bodyPr/>
        <a:lstStyle/>
        <a:p>
          <a:endParaRPr lang="nl-BE"/>
        </a:p>
      </dgm:t>
    </dgm:pt>
    <dgm:pt modelId="{2E833345-7841-4254-906A-09936330D3D7}">
      <dgm:prSet phldrT="[Text]"/>
      <dgm:spPr/>
      <dgm:t>
        <a:bodyPr/>
        <a:lstStyle/>
        <a:p>
          <a:r>
            <a:rPr lang="en-US" dirty="0"/>
            <a:t>€100/month</a:t>
          </a:r>
          <a:endParaRPr lang="nl-BE" dirty="0"/>
        </a:p>
      </dgm:t>
    </dgm:pt>
    <dgm:pt modelId="{6C8986CA-8E19-4AF5-B551-E677BB97B777}" type="parTrans" cxnId="{7B7D202E-2BBE-4BF3-B6EA-5554E9E853BA}">
      <dgm:prSet/>
      <dgm:spPr/>
      <dgm:t>
        <a:bodyPr/>
        <a:lstStyle/>
        <a:p>
          <a:endParaRPr lang="nl-BE"/>
        </a:p>
      </dgm:t>
    </dgm:pt>
    <dgm:pt modelId="{41457802-B2CF-4106-8341-EA73CF90F411}" type="sibTrans" cxnId="{7B7D202E-2BBE-4BF3-B6EA-5554E9E853BA}">
      <dgm:prSet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nl-BE"/>
        </a:p>
      </dgm:t>
      <dgm:extLst>
        <a:ext uri="{E40237B7-FDA0-4F09-8148-C483321AD2D9}">
          <dgm14:cNvPr xmlns:dgm14="http://schemas.microsoft.com/office/drawing/2010/diagram" id="0" name="" descr="Cloud with solid fill"/>
        </a:ext>
      </dgm:extLst>
    </dgm:pt>
    <dgm:pt modelId="{5859CF7C-702E-4757-B09B-F7F42C28F0AC}" type="pres">
      <dgm:prSet presAssocID="{27FA3C01-B46B-486A-A398-D6491D3485E9}" presName="Name0" presStyleCnt="0">
        <dgm:presLayoutVars>
          <dgm:chMax val="21"/>
          <dgm:chPref val="21"/>
        </dgm:presLayoutVars>
      </dgm:prSet>
      <dgm:spPr/>
    </dgm:pt>
    <dgm:pt modelId="{53AAB3B3-DCD0-4E69-AFF4-5DC5289AE008}" type="pres">
      <dgm:prSet presAssocID="{091FA419-B324-46AF-A19F-B426F2434F7C}" presName="text1" presStyleCnt="0"/>
      <dgm:spPr/>
    </dgm:pt>
    <dgm:pt modelId="{D3652DA4-3863-4898-BF1F-573C7BC992FD}" type="pres">
      <dgm:prSet presAssocID="{091FA419-B324-46AF-A19F-B426F2434F7C}" presName="textRepeatNode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F17F19D2-F387-48C1-BD9E-C732BDE5FADD}" type="pres">
      <dgm:prSet presAssocID="{091FA419-B324-46AF-A19F-B426F2434F7C}" presName="textaccent1" presStyleCnt="0"/>
      <dgm:spPr/>
    </dgm:pt>
    <dgm:pt modelId="{A8F9A003-BA13-4D3B-8494-7690322C15E4}" type="pres">
      <dgm:prSet presAssocID="{091FA419-B324-46AF-A19F-B426F2434F7C}" presName="accentRepeatNode" presStyleLbl="solidAlignAcc1" presStyleIdx="0" presStyleCnt="6"/>
      <dgm:spPr>
        <a:solidFill>
          <a:srgbClr val="FF7E00"/>
        </a:solidFill>
      </dgm:spPr>
    </dgm:pt>
    <dgm:pt modelId="{20D6AB02-DE07-415F-B9A2-679427881F44}" type="pres">
      <dgm:prSet presAssocID="{54A635B4-3E97-40FC-A001-FCD0DB93A4B2}" presName="image1" presStyleCnt="0"/>
      <dgm:spPr/>
    </dgm:pt>
    <dgm:pt modelId="{10C31060-AEB8-4CAC-8872-75AD33A56FB0}" type="pres">
      <dgm:prSet presAssocID="{54A635B4-3E97-40FC-A001-FCD0DB93A4B2}" presName="imageRepeatNode" presStyleLbl="alignAcc1" presStyleIdx="0" presStyleCnt="3"/>
      <dgm:spPr/>
    </dgm:pt>
    <dgm:pt modelId="{33F6A8E4-DE37-4A40-B561-B71987D9BD3A}" type="pres">
      <dgm:prSet presAssocID="{54A635B4-3E97-40FC-A001-FCD0DB93A4B2}" presName="imageaccent1" presStyleCnt="0"/>
      <dgm:spPr/>
    </dgm:pt>
    <dgm:pt modelId="{9209AA7E-3F5B-4A33-A495-18C6A7C01B36}" type="pres">
      <dgm:prSet presAssocID="{54A635B4-3E97-40FC-A001-FCD0DB93A4B2}" presName="accentRepeatNode" presStyleLbl="solidAlignAcc1" presStyleIdx="1" presStyleCnt="6" custLinFactX="15221" custLinFactY="-144997" custLinFactNeighborX="100000" custLinFactNeighborY="-200000"/>
      <dgm:spPr>
        <a:ln>
          <a:solidFill>
            <a:schemeClr val="bg1"/>
          </a:solidFill>
        </a:ln>
      </dgm:spPr>
    </dgm:pt>
    <dgm:pt modelId="{FD16300E-F2C8-4F52-8670-BDC39FA46C83}" type="pres">
      <dgm:prSet presAssocID="{65F40D74-476D-4254-AE7E-8BF60928237E}" presName="text2" presStyleCnt="0"/>
      <dgm:spPr/>
    </dgm:pt>
    <dgm:pt modelId="{8D753672-9528-44E4-85CD-6F83D1DDBDEF}" type="pres">
      <dgm:prSet presAssocID="{65F40D74-476D-4254-AE7E-8BF60928237E}" presName="textRepeatNode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70D4788D-9109-49F1-B517-B0BF99E0B8AA}" type="pres">
      <dgm:prSet presAssocID="{65F40D74-476D-4254-AE7E-8BF60928237E}" presName="textaccent2" presStyleCnt="0"/>
      <dgm:spPr/>
    </dgm:pt>
    <dgm:pt modelId="{913332C9-D757-449E-A19B-DCB2399868F8}" type="pres">
      <dgm:prSet presAssocID="{65F40D74-476D-4254-AE7E-8BF60928237E}" presName="accentRepeatNode" presStyleLbl="solidAlignAcc1" presStyleIdx="2" presStyleCnt="6"/>
      <dgm:spPr>
        <a:solidFill>
          <a:srgbClr val="FF7E00"/>
        </a:solidFill>
      </dgm:spPr>
    </dgm:pt>
    <dgm:pt modelId="{BCDC0385-64BA-4E19-B8C8-31F2D3594825}" type="pres">
      <dgm:prSet presAssocID="{42E5942D-EFAC-4135-9760-095C0DA5CABF}" presName="image2" presStyleCnt="0"/>
      <dgm:spPr/>
    </dgm:pt>
    <dgm:pt modelId="{0F1FC6AD-A203-47E0-82FF-918BD9DCCCDD}" type="pres">
      <dgm:prSet presAssocID="{42E5942D-EFAC-4135-9760-095C0DA5CABF}" presName="imageRepeatNode" presStyleLbl="alignAcc1" presStyleIdx="1" presStyleCnt="3"/>
      <dgm:spPr/>
    </dgm:pt>
    <dgm:pt modelId="{B2E29442-4286-4BF1-99A5-A195AE1CE8BA}" type="pres">
      <dgm:prSet presAssocID="{42E5942D-EFAC-4135-9760-095C0DA5CABF}" presName="imageaccent2" presStyleCnt="0"/>
      <dgm:spPr/>
    </dgm:pt>
    <dgm:pt modelId="{A52D3D66-8EA5-44A5-96EF-9BE1C66BFEA2}" type="pres">
      <dgm:prSet presAssocID="{42E5942D-EFAC-4135-9760-095C0DA5CABF}" presName="accentRepeatNode" presStyleLbl="solidAlignAcc1" presStyleIdx="3" presStyleCnt="6" custLinFactX="100000" custLinFactY="-81124" custLinFactNeighborX="100707" custLinFactNeighborY="-100000"/>
      <dgm:spPr>
        <a:ln>
          <a:solidFill>
            <a:schemeClr val="bg1"/>
          </a:solidFill>
        </a:ln>
      </dgm:spPr>
    </dgm:pt>
    <dgm:pt modelId="{7EBEC382-DF4F-4482-A651-6D456D57D35F}" type="pres">
      <dgm:prSet presAssocID="{2E833345-7841-4254-906A-09936330D3D7}" presName="text3" presStyleCnt="0"/>
      <dgm:spPr/>
    </dgm:pt>
    <dgm:pt modelId="{15C3ECE6-5C26-4580-B66B-A9A32C32DAB0}" type="pres">
      <dgm:prSet presAssocID="{2E833345-7841-4254-906A-09936330D3D7}" presName="textRepeatNode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D5D33E15-B0F3-472C-BFCB-242DEE8B6A5C}" type="pres">
      <dgm:prSet presAssocID="{2E833345-7841-4254-906A-09936330D3D7}" presName="textaccent3" presStyleCnt="0"/>
      <dgm:spPr/>
    </dgm:pt>
    <dgm:pt modelId="{530F34FC-9025-4CB5-8312-668515940FA8}" type="pres">
      <dgm:prSet presAssocID="{2E833345-7841-4254-906A-09936330D3D7}" presName="accentRepeatNode" presStyleLbl="solidAlignAcc1" presStyleIdx="4" presStyleCnt="6"/>
      <dgm:spPr>
        <a:solidFill>
          <a:schemeClr val="accent1"/>
        </a:solidFill>
      </dgm:spPr>
    </dgm:pt>
    <dgm:pt modelId="{C5E2B2A4-4029-4BEE-8A25-D9EE145452E8}" type="pres">
      <dgm:prSet presAssocID="{41457802-B2CF-4106-8341-EA73CF90F411}" presName="image3" presStyleCnt="0"/>
      <dgm:spPr/>
    </dgm:pt>
    <dgm:pt modelId="{D7D4EBB9-CE95-472A-BE6B-6AEF034729F1}" type="pres">
      <dgm:prSet presAssocID="{41457802-B2CF-4106-8341-EA73CF90F411}" presName="imageRepeatNode" presStyleLbl="alignAcc1" presStyleIdx="2" presStyleCnt="3"/>
      <dgm:spPr/>
    </dgm:pt>
    <dgm:pt modelId="{48C22D17-5EEB-4504-9100-4408771EAC8B}" type="pres">
      <dgm:prSet presAssocID="{41457802-B2CF-4106-8341-EA73CF90F411}" presName="imageaccent3" presStyleCnt="0"/>
      <dgm:spPr/>
    </dgm:pt>
    <dgm:pt modelId="{B7DB2206-5D7E-417F-AA75-0D4BBE2251FE}" type="pres">
      <dgm:prSet presAssocID="{41457802-B2CF-4106-8341-EA73CF90F411}" presName="accentRepeatNode" presStyleLbl="solidAlignAcc1" presStyleIdx="5" presStyleCnt="6" custLinFactX="44955" custLinFactY="-166559" custLinFactNeighborX="100000" custLinFactNeighborY="-200000"/>
      <dgm:spPr>
        <a:ln>
          <a:solidFill>
            <a:schemeClr val="bg1"/>
          </a:solidFill>
        </a:ln>
      </dgm:spPr>
    </dgm:pt>
  </dgm:ptLst>
  <dgm:cxnLst>
    <dgm:cxn modelId="{5CC93E11-6407-44BB-9ECF-25B07C77EA96}" srcId="{27FA3C01-B46B-486A-A398-D6491D3485E9}" destId="{65F40D74-476D-4254-AE7E-8BF60928237E}" srcOrd="1" destOrd="0" parTransId="{FECAC3ED-1400-4AA5-9A9B-43C5CE137AE3}" sibTransId="{42E5942D-EFAC-4135-9760-095C0DA5CABF}"/>
    <dgm:cxn modelId="{81342D17-64C5-4D91-86B0-611269FBF655}" type="presOf" srcId="{65F40D74-476D-4254-AE7E-8BF60928237E}" destId="{8D753672-9528-44E4-85CD-6F83D1DDBDEF}" srcOrd="0" destOrd="0" presId="urn:microsoft.com/office/officeart/2008/layout/HexagonCluster"/>
    <dgm:cxn modelId="{7B7D202E-2BBE-4BF3-B6EA-5554E9E853BA}" srcId="{27FA3C01-B46B-486A-A398-D6491D3485E9}" destId="{2E833345-7841-4254-906A-09936330D3D7}" srcOrd="2" destOrd="0" parTransId="{6C8986CA-8E19-4AF5-B551-E677BB97B777}" sibTransId="{41457802-B2CF-4106-8341-EA73CF90F411}"/>
    <dgm:cxn modelId="{02596633-FC42-43EC-9051-1BBDF7B46556}" type="presOf" srcId="{091FA419-B324-46AF-A19F-B426F2434F7C}" destId="{D3652DA4-3863-4898-BF1F-573C7BC992FD}" srcOrd="0" destOrd="0" presId="urn:microsoft.com/office/officeart/2008/layout/HexagonCluster"/>
    <dgm:cxn modelId="{5BC4CA3C-5908-4E8C-B710-88DA14EFBCD2}" type="presOf" srcId="{42E5942D-EFAC-4135-9760-095C0DA5CABF}" destId="{0F1FC6AD-A203-47E0-82FF-918BD9DCCCDD}" srcOrd="0" destOrd="0" presId="urn:microsoft.com/office/officeart/2008/layout/HexagonCluster"/>
    <dgm:cxn modelId="{DB9CC340-0E37-4D00-B97D-34A86312B49A}" type="presOf" srcId="{54A635B4-3E97-40FC-A001-FCD0DB93A4B2}" destId="{10C31060-AEB8-4CAC-8872-75AD33A56FB0}" srcOrd="0" destOrd="0" presId="urn:microsoft.com/office/officeart/2008/layout/HexagonCluster"/>
    <dgm:cxn modelId="{E6B23A7E-78D0-4CCE-B574-E9BAE436F77B}" type="presOf" srcId="{41457802-B2CF-4106-8341-EA73CF90F411}" destId="{D7D4EBB9-CE95-472A-BE6B-6AEF034729F1}" srcOrd="0" destOrd="0" presId="urn:microsoft.com/office/officeart/2008/layout/HexagonCluster"/>
    <dgm:cxn modelId="{E42A21BF-4F26-4D4B-AD5E-2943576FCF4E}" srcId="{27FA3C01-B46B-486A-A398-D6491D3485E9}" destId="{091FA419-B324-46AF-A19F-B426F2434F7C}" srcOrd="0" destOrd="0" parTransId="{A06ADDFE-A758-4DBE-AA57-C50228C2C494}" sibTransId="{54A635B4-3E97-40FC-A001-FCD0DB93A4B2}"/>
    <dgm:cxn modelId="{C65DD0C5-B3AA-4858-91D1-9DB356CD8DFF}" type="presOf" srcId="{27FA3C01-B46B-486A-A398-D6491D3485E9}" destId="{5859CF7C-702E-4757-B09B-F7F42C28F0AC}" srcOrd="0" destOrd="0" presId="urn:microsoft.com/office/officeart/2008/layout/HexagonCluster"/>
    <dgm:cxn modelId="{5969BBD6-C8DA-4313-BA7D-A0E846640014}" type="presOf" srcId="{2E833345-7841-4254-906A-09936330D3D7}" destId="{15C3ECE6-5C26-4580-B66B-A9A32C32DAB0}" srcOrd="0" destOrd="0" presId="urn:microsoft.com/office/officeart/2008/layout/HexagonCluster"/>
    <dgm:cxn modelId="{CFC8238A-3418-4366-8530-207AC816CB79}" type="presParOf" srcId="{5859CF7C-702E-4757-B09B-F7F42C28F0AC}" destId="{53AAB3B3-DCD0-4E69-AFF4-5DC5289AE008}" srcOrd="0" destOrd="0" presId="urn:microsoft.com/office/officeart/2008/layout/HexagonCluster"/>
    <dgm:cxn modelId="{1359451D-E35B-438B-AC0F-572C88DA99F0}" type="presParOf" srcId="{53AAB3B3-DCD0-4E69-AFF4-5DC5289AE008}" destId="{D3652DA4-3863-4898-BF1F-573C7BC992FD}" srcOrd="0" destOrd="0" presId="urn:microsoft.com/office/officeart/2008/layout/HexagonCluster"/>
    <dgm:cxn modelId="{09035F9D-7D4F-474F-88F7-30E0BDDA7291}" type="presParOf" srcId="{5859CF7C-702E-4757-B09B-F7F42C28F0AC}" destId="{F17F19D2-F387-48C1-BD9E-C732BDE5FADD}" srcOrd="1" destOrd="0" presId="urn:microsoft.com/office/officeart/2008/layout/HexagonCluster"/>
    <dgm:cxn modelId="{1A8705C4-F177-411E-9AF2-93378AB4CF9F}" type="presParOf" srcId="{F17F19D2-F387-48C1-BD9E-C732BDE5FADD}" destId="{A8F9A003-BA13-4D3B-8494-7690322C15E4}" srcOrd="0" destOrd="0" presId="urn:microsoft.com/office/officeart/2008/layout/HexagonCluster"/>
    <dgm:cxn modelId="{7A658626-03A6-4A69-91D9-46C94425085B}" type="presParOf" srcId="{5859CF7C-702E-4757-B09B-F7F42C28F0AC}" destId="{20D6AB02-DE07-415F-B9A2-679427881F44}" srcOrd="2" destOrd="0" presId="urn:microsoft.com/office/officeart/2008/layout/HexagonCluster"/>
    <dgm:cxn modelId="{73264D92-D203-4153-94CA-42DF446957F5}" type="presParOf" srcId="{20D6AB02-DE07-415F-B9A2-679427881F44}" destId="{10C31060-AEB8-4CAC-8872-75AD33A56FB0}" srcOrd="0" destOrd="0" presId="urn:microsoft.com/office/officeart/2008/layout/HexagonCluster"/>
    <dgm:cxn modelId="{95517FD4-9D29-42E6-86C3-FD27F6CAC351}" type="presParOf" srcId="{5859CF7C-702E-4757-B09B-F7F42C28F0AC}" destId="{33F6A8E4-DE37-4A40-B561-B71987D9BD3A}" srcOrd="3" destOrd="0" presId="urn:microsoft.com/office/officeart/2008/layout/HexagonCluster"/>
    <dgm:cxn modelId="{113995DC-6FC9-422F-AF5A-5CE1BE7C8238}" type="presParOf" srcId="{33F6A8E4-DE37-4A40-B561-B71987D9BD3A}" destId="{9209AA7E-3F5B-4A33-A495-18C6A7C01B36}" srcOrd="0" destOrd="0" presId="urn:microsoft.com/office/officeart/2008/layout/HexagonCluster"/>
    <dgm:cxn modelId="{9CFA30F2-01E4-41C6-BBD6-67D30A1AEE4F}" type="presParOf" srcId="{5859CF7C-702E-4757-B09B-F7F42C28F0AC}" destId="{FD16300E-F2C8-4F52-8670-BDC39FA46C83}" srcOrd="4" destOrd="0" presId="urn:microsoft.com/office/officeart/2008/layout/HexagonCluster"/>
    <dgm:cxn modelId="{29FD6657-86B4-4223-B117-47347068F186}" type="presParOf" srcId="{FD16300E-F2C8-4F52-8670-BDC39FA46C83}" destId="{8D753672-9528-44E4-85CD-6F83D1DDBDEF}" srcOrd="0" destOrd="0" presId="urn:microsoft.com/office/officeart/2008/layout/HexagonCluster"/>
    <dgm:cxn modelId="{F46EDEB8-C372-42D7-8799-C44B14EAC21E}" type="presParOf" srcId="{5859CF7C-702E-4757-B09B-F7F42C28F0AC}" destId="{70D4788D-9109-49F1-B517-B0BF99E0B8AA}" srcOrd="5" destOrd="0" presId="urn:microsoft.com/office/officeart/2008/layout/HexagonCluster"/>
    <dgm:cxn modelId="{3C68C4AB-0BB2-45D8-B40E-2918EEB09033}" type="presParOf" srcId="{70D4788D-9109-49F1-B517-B0BF99E0B8AA}" destId="{913332C9-D757-449E-A19B-DCB2399868F8}" srcOrd="0" destOrd="0" presId="urn:microsoft.com/office/officeart/2008/layout/HexagonCluster"/>
    <dgm:cxn modelId="{EEAD0C6A-1D3F-4E2E-99C2-87D408BB82CC}" type="presParOf" srcId="{5859CF7C-702E-4757-B09B-F7F42C28F0AC}" destId="{BCDC0385-64BA-4E19-B8C8-31F2D3594825}" srcOrd="6" destOrd="0" presId="urn:microsoft.com/office/officeart/2008/layout/HexagonCluster"/>
    <dgm:cxn modelId="{84B5B635-B966-4966-A4D8-4C1024DF83C3}" type="presParOf" srcId="{BCDC0385-64BA-4E19-B8C8-31F2D3594825}" destId="{0F1FC6AD-A203-47E0-82FF-918BD9DCCCDD}" srcOrd="0" destOrd="0" presId="urn:microsoft.com/office/officeart/2008/layout/HexagonCluster"/>
    <dgm:cxn modelId="{CF8D6118-62D9-459F-BE66-436DB026979A}" type="presParOf" srcId="{5859CF7C-702E-4757-B09B-F7F42C28F0AC}" destId="{B2E29442-4286-4BF1-99A5-A195AE1CE8BA}" srcOrd="7" destOrd="0" presId="urn:microsoft.com/office/officeart/2008/layout/HexagonCluster"/>
    <dgm:cxn modelId="{A9AE4A62-BC61-4A0C-B77F-3265621EB459}" type="presParOf" srcId="{B2E29442-4286-4BF1-99A5-A195AE1CE8BA}" destId="{A52D3D66-8EA5-44A5-96EF-9BE1C66BFEA2}" srcOrd="0" destOrd="0" presId="urn:microsoft.com/office/officeart/2008/layout/HexagonCluster"/>
    <dgm:cxn modelId="{FB339D2D-C8D4-4385-AB43-97B7DA0207F0}" type="presParOf" srcId="{5859CF7C-702E-4757-B09B-F7F42C28F0AC}" destId="{7EBEC382-DF4F-4482-A651-6D456D57D35F}" srcOrd="8" destOrd="0" presId="urn:microsoft.com/office/officeart/2008/layout/HexagonCluster"/>
    <dgm:cxn modelId="{905286BC-968A-4A63-B137-39A23D33FFA7}" type="presParOf" srcId="{7EBEC382-DF4F-4482-A651-6D456D57D35F}" destId="{15C3ECE6-5C26-4580-B66B-A9A32C32DAB0}" srcOrd="0" destOrd="0" presId="urn:microsoft.com/office/officeart/2008/layout/HexagonCluster"/>
    <dgm:cxn modelId="{BA6286F4-0BFF-4FC0-9C31-F96984047025}" type="presParOf" srcId="{5859CF7C-702E-4757-B09B-F7F42C28F0AC}" destId="{D5D33E15-B0F3-472C-BFCB-242DEE8B6A5C}" srcOrd="9" destOrd="0" presId="urn:microsoft.com/office/officeart/2008/layout/HexagonCluster"/>
    <dgm:cxn modelId="{9027D15A-DF9C-4475-9B3B-08C170DFDEFD}" type="presParOf" srcId="{D5D33E15-B0F3-472C-BFCB-242DEE8B6A5C}" destId="{530F34FC-9025-4CB5-8312-668515940FA8}" srcOrd="0" destOrd="0" presId="urn:microsoft.com/office/officeart/2008/layout/HexagonCluster"/>
    <dgm:cxn modelId="{194F840F-F230-4C2A-83C6-785C20F00B85}" type="presParOf" srcId="{5859CF7C-702E-4757-B09B-F7F42C28F0AC}" destId="{C5E2B2A4-4029-4BEE-8A25-D9EE145452E8}" srcOrd="10" destOrd="0" presId="urn:microsoft.com/office/officeart/2008/layout/HexagonCluster"/>
    <dgm:cxn modelId="{F5AF8F12-769F-4F07-BF80-419092AE4518}" type="presParOf" srcId="{C5E2B2A4-4029-4BEE-8A25-D9EE145452E8}" destId="{D7D4EBB9-CE95-472A-BE6B-6AEF034729F1}" srcOrd="0" destOrd="0" presId="urn:microsoft.com/office/officeart/2008/layout/HexagonCluster"/>
    <dgm:cxn modelId="{99DD6F87-67BD-44BF-B2AD-512E62457475}" type="presParOf" srcId="{5859CF7C-702E-4757-B09B-F7F42C28F0AC}" destId="{48C22D17-5EEB-4504-9100-4408771EAC8B}" srcOrd="11" destOrd="0" presId="urn:microsoft.com/office/officeart/2008/layout/HexagonCluster"/>
    <dgm:cxn modelId="{2B167000-32DE-4540-9F84-1AE0039CAA30}" type="presParOf" srcId="{48C22D17-5EEB-4504-9100-4408771EAC8B}" destId="{B7DB2206-5D7E-417F-AA75-0D4BBE2251FE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652DA4-3863-4898-BF1F-573C7BC992FD}">
      <dsp:nvSpPr>
        <dsp:cNvPr id="0" name=""/>
        <dsp:cNvSpPr/>
      </dsp:nvSpPr>
      <dsp:spPr>
        <a:xfrm>
          <a:off x="1952345" y="3341447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ingle environment</a:t>
          </a:r>
          <a:endParaRPr lang="nl-BE" sz="2000" kern="1200" dirty="0"/>
        </a:p>
      </dsp:txBody>
      <dsp:txXfrm>
        <a:off x="2306774" y="3647026"/>
        <a:ext cx="1575110" cy="1358020"/>
      </dsp:txXfrm>
    </dsp:sp>
    <dsp:sp modelId="{A8F9A003-BA13-4D3B-8494-7690322C15E4}">
      <dsp:nvSpPr>
        <dsp:cNvPr id="0" name=""/>
        <dsp:cNvSpPr/>
      </dsp:nvSpPr>
      <dsp:spPr>
        <a:xfrm>
          <a:off x="2011680" y="4210799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rgbClr val="FF7E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C31060-AEB8-4CAC-8872-75AD33A56FB0}">
      <dsp:nvSpPr>
        <dsp:cNvPr id="0" name=""/>
        <dsp:cNvSpPr/>
      </dsp:nvSpPr>
      <dsp:spPr>
        <a:xfrm>
          <a:off x="0" y="2283761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09AA7E-3F5B-4A33-A495-18C6A7C01B36}">
      <dsp:nvSpPr>
        <dsp:cNvPr id="0" name=""/>
        <dsp:cNvSpPr/>
      </dsp:nvSpPr>
      <dsp:spPr>
        <a:xfrm>
          <a:off x="1863000" y="3197681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753672-9528-44E4-85CD-6F83D1DDBDEF}">
      <dsp:nvSpPr>
        <dsp:cNvPr id="0" name=""/>
        <dsp:cNvSpPr/>
      </dsp:nvSpPr>
      <dsp:spPr>
        <a:xfrm>
          <a:off x="3898188" y="2260350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TL/ELT once a day</a:t>
          </a:r>
          <a:endParaRPr lang="nl-BE" sz="2000" kern="1200" dirty="0"/>
        </a:p>
      </dsp:txBody>
      <dsp:txXfrm>
        <a:off x="4252617" y="2565929"/>
        <a:ext cx="1575110" cy="1358020"/>
      </dsp:txXfrm>
    </dsp:sp>
    <dsp:sp modelId="{913332C9-D757-449E-A19B-DCB2399868F8}">
      <dsp:nvSpPr>
        <dsp:cNvPr id="0" name=""/>
        <dsp:cNvSpPr/>
      </dsp:nvSpPr>
      <dsp:spPr>
        <a:xfrm>
          <a:off x="5459577" y="3967318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rgbClr val="FF7E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1FC6AD-A203-47E0-82FF-918BD9DCCCDD}">
      <dsp:nvSpPr>
        <dsp:cNvPr id="0" name=""/>
        <dsp:cNvSpPr/>
      </dsp:nvSpPr>
      <dsp:spPr>
        <a:xfrm>
          <a:off x="5844032" y="3341447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2D3D66-8EA5-44A5-96EF-9BE1C66BFEA2}">
      <dsp:nvSpPr>
        <dsp:cNvPr id="0" name=""/>
        <dsp:cNvSpPr/>
      </dsp:nvSpPr>
      <dsp:spPr>
        <a:xfrm>
          <a:off x="6440079" y="3793355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C3ECE6-5C26-4580-B66B-A9A32C32DAB0}">
      <dsp:nvSpPr>
        <dsp:cNvPr id="0" name=""/>
        <dsp:cNvSpPr/>
      </dsp:nvSpPr>
      <dsp:spPr>
        <a:xfrm>
          <a:off x="1952345" y="1183935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€100/month</a:t>
          </a:r>
          <a:endParaRPr lang="nl-BE" sz="2000" kern="1200" dirty="0"/>
        </a:p>
      </dsp:txBody>
      <dsp:txXfrm>
        <a:off x="2306774" y="1489514"/>
        <a:ext cx="1575110" cy="1358020"/>
      </dsp:txXfrm>
    </dsp:sp>
    <dsp:sp modelId="{530F34FC-9025-4CB5-8312-668515940FA8}">
      <dsp:nvSpPr>
        <dsp:cNvPr id="0" name=""/>
        <dsp:cNvSpPr/>
      </dsp:nvSpPr>
      <dsp:spPr>
        <a:xfrm>
          <a:off x="3500729" y="1226596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accent1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D4EBB9-CE95-472A-BE6B-6AEF034729F1}">
      <dsp:nvSpPr>
        <dsp:cNvPr id="0" name=""/>
        <dsp:cNvSpPr/>
      </dsp:nvSpPr>
      <dsp:spPr>
        <a:xfrm>
          <a:off x="3898188" y="108040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 t="-8000" b="-8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DB2206-5D7E-417F-AA75-0D4BBE2251FE}">
      <dsp:nvSpPr>
        <dsp:cNvPr id="0" name=""/>
        <dsp:cNvSpPr/>
      </dsp:nvSpPr>
      <dsp:spPr>
        <a:xfrm>
          <a:off x="4353277" y="127885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11/12/2024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89484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673110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765303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396637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761773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973041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forget to add alerting/monitoring + refresh Power BI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463409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7132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372861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6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37812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F6258-B281-49EC-9D26-DA5F2F7B4208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B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veryone thinks they need thi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768740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some companies only need thi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99782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5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08035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ta is stored in SQL D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loud sources &amp; public Intern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ower BI license cost not included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8031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7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49235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8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7274103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9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56109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78248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87251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255104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2742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275306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609024203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39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32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66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95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974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97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665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189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432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167476969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9565809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29749358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59779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296338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4028530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169249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9802114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030671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6000542"/>
      </p:ext>
    </p:extLst>
  </p:cSld>
  <p:clrMapOvr>
    <a:masterClrMapping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8683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6147783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54188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2405453"/>
      </p:ext>
    </p:extLst>
  </p:cSld>
  <p:clrMapOvr>
    <a:masterClrMapping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46764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223798"/>
      </p:ext>
    </p:extLst>
  </p:cSld>
  <p:clrMapOvr>
    <a:masterClrMapping/>
  </p:clrMapOvr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55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407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188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02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026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5081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684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866699068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5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theme" Target="../theme/theme2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61.xml"/><Relationship Id="rId41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385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image" Target="../media/image42.png"/><Relationship Id="rId7" Type="http://schemas.openxmlformats.org/officeDocument/2006/relationships/image" Target="../media/image46.jpeg"/><Relationship Id="rId12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5.svg"/><Relationship Id="rId11" Type="http://schemas.openxmlformats.org/officeDocument/2006/relationships/image" Target="../media/image50.svg"/><Relationship Id="rId5" Type="http://schemas.openxmlformats.org/officeDocument/2006/relationships/image" Target="../media/image44.png"/><Relationship Id="rId10" Type="http://schemas.openxmlformats.org/officeDocument/2006/relationships/image" Target="../media/image49.png"/><Relationship Id="rId4" Type="http://schemas.openxmlformats.org/officeDocument/2006/relationships/image" Target="../media/image43.svg"/><Relationship Id="rId9" Type="http://schemas.openxmlformats.org/officeDocument/2006/relationships/image" Target="../media/image48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3.png"/><Relationship Id="rId18" Type="http://schemas.openxmlformats.org/officeDocument/2006/relationships/image" Target="../media/image58.jpeg"/><Relationship Id="rId3" Type="http://schemas.openxmlformats.org/officeDocument/2006/relationships/image" Target="../media/image42.png"/><Relationship Id="rId21" Type="http://schemas.openxmlformats.org/officeDocument/2006/relationships/image" Target="../media/image61.png"/><Relationship Id="rId7" Type="http://schemas.openxmlformats.org/officeDocument/2006/relationships/image" Target="../media/image46.jpeg"/><Relationship Id="rId12" Type="http://schemas.openxmlformats.org/officeDocument/2006/relationships/image" Target="../media/image52.png"/><Relationship Id="rId17" Type="http://schemas.openxmlformats.org/officeDocument/2006/relationships/image" Target="../media/image57.png"/><Relationship Id="rId25" Type="http://schemas.openxmlformats.org/officeDocument/2006/relationships/image" Target="../media/image65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56.png"/><Relationship Id="rId20" Type="http://schemas.openxmlformats.org/officeDocument/2006/relationships/image" Target="../media/image60.sv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5.svg"/><Relationship Id="rId11" Type="http://schemas.openxmlformats.org/officeDocument/2006/relationships/image" Target="../media/image51.png"/><Relationship Id="rId24" Type="http://schemas.openxmlformats.org/officeDocument/2006/relationships/image" Target="../media/image64.png"/><Relationship Id="rId5" Type="http://schemas.openxmlformats.org/officeDocument/2006/relationships/image" Target="../media/image44.png"/><Relationship Id="rId15" Type="http://schemas.openxmlformats.org/officeDocument/2006/relationships/image" Target="../media/image55.png"/><Relationship Id="rId23" Type="http://schemas.openxmlformats.org/officeDocument/2006/relationships/image" Target="../media/image63.png"/><Relationship Id="rId10" Type="http://schemas.openxmlformats.org/officeDocument/2006/relationships/image" Target="../media/image50.svg"/><Relationship Id="rId19" Type="http://schemas.openxmlformats.org/officeDocument/2006/relationships/image" Target="../media/image59.png"/><Relationship Id="rId4" Type="http://schemas.openxmlformats.org/officeDocument/2006/relationships/image" Target="../media/image43.svg"/><Relationship Id="rId9" Type="http://schemas.openxmlformats.org/officeDocument/2006/relationships/image" Target="../media/image49.png"/><Relationship Id="rId14" Type="http://schemas.openxmlformats.org/officeDocument/2006/relationships/image" Target="../media/image54.svg"/><Relationship Id="rId22" Type="http://schemas.openxmlformats.org/officeDocument/2006/relationships/image" Target="../media/image62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27.svg"/><Relationship Id="rId11" Type="http://schemas.openxmlformats.org/officeDocument/2006/relationships/image" Target="../media/image32.jp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sqlkover.com/reading-afas-rest-api-data-with-azure-logic-apps/" TargetMode="External"/><Relationship Id="rId7" Type="http://schemas.openxmlformats.org/officeDocument/2006/relationships/hyperlink" Target="https://sqlkover.com/dynamically-map-json-to-sql-in-azure-data-factory/" TargetMode="External"/><Relationship Id="rId2" Type="http://schemas.openxmlformats.org/officeDocument/2006/relationships/hyperlink" Target="https://sqlkover.com/azure-data-factory-and-the-exact-online-rest-api-introduction/" TargetMode="External"/><Relationship Id="rId1" Type="http://schemas.openxmlformats.org/officeDocument/2006/relationships/slideLayout" Target="../slideLayouts/slideLayout40.xml"/><Relationship Id="rId6" Type="http://schemas.openxmlformats.org/officeDocument/2006/relationships/hyperlink" Target="https://www.mssqltips.com/sqlservertutorial/9399/building-flexible-and-dynamic-adf-pipelines/" TargetMode="External"/><Relationship Id="rId5" Type="http://schemas.openxmlformats.org/officeDocument/2006/relationships/hyperlink" Target="https://sqlkover.com/dynamic-datasets-in-azure-data-factory/" TargetMode="External"/><Relationship Id="rId4" Type="http://schemas.openxmlformats.org/officeDocument/2006/relationships/hyperlink" Target="https://sqlkover.com/build-once-add-metadata/" TargetMode="Externa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.xml"/><Relationship Id="rId6" Type="http://schemas.microsoft.com/office/2007/relationships/hdphoto" Target="../media/hdphoto1.wdp"/><Relationship Id="rId5" Type="http://schemas.openxmlformats.org/officeDocument/2006/relationships/image" Target="../media/image81.png"/><Relationship Id="rId4" Type="http://schemas.openxmlformats.org/officeDocument/2006/relationships/image" Target="../media/image2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4.sv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7.png"/><Relationship Id="rId4" Type="http://schemas.openxmlformats.org/officeDocument/2006/relationships/image" Target="../media/image9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oderndata.ai/2018/12/scale-azure-sql-using-adf-web-activity/" TargetMode="External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hyperlink" Target="https://pl.seequality.net/refreshing-a-power-bi-dataset-using-azure-data-factory/" TargetMode="External"/><Relationship Id="rId1" Type="http://schemas.openxmlformats.org/officeDocument/2006/relationships/slideLayout" Target="../slideLayouts/slideLayout19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42.png"/><Relationship Id="rId18" Type="http://schemas.openxmlformats.org/officeDocument/2006/relationships/image" Target="../media/image105.svg"/><Relationship Id="rId26" Type="http://schemas.openxmlformats.org/officeDocument/2006/relationships/image" Target="../media/image109.svg"/><Relationship Id="rId3" Type="http://schemas.openxmlformats.org/officeDocument/2006/relationships/image" Target="../media/image96.png"/><Relationship Id="rId21" Type="http://schemas.openxmlformats.org/officeDocument/2006/relationships/image" Target="../media/image49.png"/><Relationship Id="rId7" Type="http://schemas.openxmlformats.org/officeDocument/2006/relationships/image" Target="../media/image47.png"/><Relationship Id="rId12" Type="http://schemas.openxmlformats.org/officeDocument/2006/relationships/image" Target="../media/image103.png"/><Relationship Id="rId17" Type="http://schemas.openxmlformats.org/officeDocument/2006/relationships/image" Target="../media/image104.png"/><Relationship Id="rId25" Type="http://schemas.openxmlformats.org/officeDocument/2006/relationships/image" Target="../media/image108.png"/><Relationship Id="rId2" Type="http://schemas.openxmlformats.org/officeDocument/2006/relationships/image" Target="../media/image95.png"/><Relationship Id="rId16" Type="http://schemas.openxmlformats.org/officeDocument/2006/relationships/image" Target="../media/image45.svg"/><Relationship Id="rId20" Type="http://schemas.openxmlformats.org/officeDocument/2006/relationships/image" Target="../media/image48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8.png"/><Relationship Id="rId11" Type="http://schemas.openxmlformats.org/officeDocument/2006/relationships/image" Target="../media/image102.svg"/><Relationship Id="rId24" Type="http://schemas.openxmlformats.org/officeDocument/2006/relationships/image" Target="../media/image107.svg"/><Relationship Id="rId5" Type="http://schemas.openxmlformats.org/officeDocument/2006/relationships/image" Target="../media/image51.png"/><Relationship Id="rId15" Type="http://schemas.openxmlformats.org/officeDocument/2006/relationships/image" Target="../media/image44.png"/><Relationship Id="rId23" Type="http://schemas.openxmlformats.org/officeDocument/2006/relationships/image" Target="../media/image106.png"/><Relationship Id="rId10" Type="http://schemas.openxmlformats.org/officeDocument/2006/relationships/image" Target="../media/image101.png"/><Relationship Id="rId19" Type="http://schemas.openxmlformats.org/officeDocument/2006/relationships/image" Target="../media/image46.jpeg"/><Relationship Id="rId4" Type="http://schemas.openxmlformats.org/officeDocument/2006/relationships/image" Target="../media/image97.png"/><Relationship Id="rId9" Type="http://schemas.openxmlformats.org/officeDocument/2006/relationships/image" Target="../media/image100.png"/><Relationship Id="rId14" Type="http://schemas.openxmlformats.org/officeDocument/2006/relationships/image" Target="../media/image43.svg"/><Relationship Id="rId22" Type="http://schemas.openxmlformats.org/officeDocument/2006/relationships/image" Target="../media/image50.svg"/><Relationship Id="rId27" Type="http://schemas.openxmlformats.org/officeDocument/2006/relationships/image" Target="../media/image52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9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0fvLLYW5yW4" TargetMode="External"/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1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84C2D4-A9B0-9462-48D9-81618A5E29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0"/>
            <a:ext cx="9838110" cy="2424695"/>
          </a:xfrm>
        </p:spPr>
        <p:txBody>
          <a:bodyPr>
            <a:normAutofit fontScale="90000"/>
          </a:bodyPr>
          <a:lstStyle/>
          <a:p>
            <a:r>
              <a:rPr lang="en-US" dirty="0"/>
              <a:t>Building the €100 data warehouse with the Azure Data Platform</a:t>
            </a:r>
            <a:endParaRPr lang="nl-BE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47470EA-B5C1-BAB4-F649-B9DC54E649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6359860"/>
            <a:ext cx="7674590" cy="728803"/>
          </a:xfrm>
        </p:spPr>
        <p:txBody>
          <a:bodyPr/>
          <a:lstStyle/>
          <a:p>
            <a:r>
              <a:rPr lang="en-US" dirty="0"/>
              <a:t>Koen Verbeeck – He/him</a:t>
            </a:r>
            <a:endParaRPr lang="nl-BE" dirty="0"/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AD3E147C-1ED1-6A1F-BD7C-1DE5E47224A1}"/>
              </a:ext>
            </a:extLst>
          </p:cNvPr>
          <p:cNvSpPr txBox="1">
            <a:spLocks/>
          </p:cNvSpPr>
          <p:nvPr/>
        </p:nvSpPr>
        <p:spPr>
          <a:xfrm>
            <a:off x="841613" y="3073428"/>
            <a:ext cx="9838110" cy="181509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66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(okay maybe a bit of Fabric)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7785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FC78BB-302B-2311-4CC2-EE9B41AE56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rchitecture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CD92B4-432B-7D16-1556-4B3983528F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endParaRPr lang="nl-B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C0B4EB7-1E13-EFD4-33AD-B7199C590F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gest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668EA0-CFEE-D772-48D7-567B42F6D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EA78D3-0C38-7670-7532-1F70203854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nsform</a:t>
            </a:r>
            <a:endParaRPr lang="nl-B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F1FA346-EE51-6E32-9B80-E65724AD2DE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6F77D4D-9E45-4AA3-4936-B0B0E912E0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model &amp; serve</a:t>
            </a:r>
            <a:endParaRPr lang="nl-B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6A0321-05FC-9366-A087-8FE2EEC718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8363D9E-6A92-82B9-4329-0487D44F37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but what about Fabric?</a:t>
            </a:r>
            <a:endParaRPr lang="nl-B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AFEB33-8999-AC8C-9F86-3F4AE3AD5E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9CCCE-37C1-FB34-F3F7-4057A99944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416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hitecture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556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architecture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4658197"/>
            <a:chOff x="1893204" y="1698853"/>
            <a:chExt cx="8777518" cy="4658197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5" name="Pijl: rechts 20">
              <a:extLst>
                <a:ext uri="{FF2B5EF4-FFF2-40B4-BE49-F238E27FC236}">
                  <a16:creationId xmlns:a16="http://schemas.microsoft.com/office/drawing/2014/main" id="{44890AA1-FBD5-3E2A-6952-48302CC9BBC6}"/>
                </a:ext>
              </a:extLst>
            </p:cNvPr>
            <p:cNvSpPr/>
            <p:nvPr/>
          </p:nvSpPr>
          <p:spPr>
            <a:xfrm>
              <a:off x="8633860" y="3005907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6" name="Pijl: rechts 21">
              <a:extLst>
                <a:ext uri="{FF2B5EF4-FFF2-40B4-BE49-F238E27FC236}">
                  <a16:creationId xmlns:a16="http://schemas.microsoft.com/office/drawing/2014/main" id="{6BEE8572-3389-94A2-12B9-F69BD96DA083}"/>
                </a:ext>
              </a:extLst>
            </p:cNvPr>
            <p:cNvSpPr/>
            <p:nvPr/>
          </p:nvSpPr>
          <p:spPr>
            <a:xfrm>
              <a:off x="8617239" y="3834244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8" name="Rechthoek: afgeronde hoeken 23">
              <a:extLst>
                <a:ext uri="{FF2B5EF4-FFF2-40B4-BE49-F238E27FC236}">
                  <a16:creationId xmlns:a16="http://schemas.microsoft.com/office/drawing/2014/main" id="{C3577AC9-CE80-4112-2CC4-FC76B5C31091}"/>
                </a:ext>
              </a:extLst>
            </p:cNvPr>
            <p:cNvSpPr/>
            <p:nvPr/>
          </p:nvSpPr>
          <p:spPr>
            <a:xfrm>
              <a:off x="9170262" y="2597115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Machine Learn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9" name="Rechthoek: afgeronde hoeken 24">
              <a:extLst>
                <a:ext uri="{FF2B5EF4-FFF2-40B4-BE49-F238E27FC236}">
                  <a16:creationId xmlns:a16="http://schemas.microsoft.com/office/drawing/2014/main" id="{A5A0C9CF-6722-98AE-98FD-38B1E3EA01AC}"/>
                </a:ext>
              </a:extLst>
            </p:cNvPr>
            <p:cNvSpPr/>
            <p:nvPr/>
          </p:nvSpPr>
          <p:spPr>
            <a:xfrm>
              <a:off x="9170262" y="3495377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Integ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3320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8" name="Tekstvak 3">
              <a:extLst>
                <a:ext uri="{FF2B5EF4-FFF2-40B4-BE49-F238E27FC236}">
                  <a16:creationId xmlns:a16="http://schemas.microsoft.com/office/drawing/2014/main" id="{7F4BC875-E8FB-A32C-BF72-BBE00B7CF2F5}"/>
                </a:ext>
              </a:extLst>
            </p:cNvPr>
            <p:cNvSpPr txBox="1"/>
            <p:nvPr/>
          </p:nvSpPr>
          <p:spPr>
            <a:xfrm>
              <a:off x="4411834" y="6080051"/>
              <a:ext cx="36635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Inspired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by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: Fundamentals of Data Engineering [</a:t>
              </a:r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O’Reilly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, 2022]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288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sp>
        <p:nvSpPr>
          <p:cNvPr id="5" name="Rechthoek: afgeronde hoeken 12">
            <a:extLst>
              <a:ext uri="{FF2B5EF4-FFF2-40B4-BE49-F238E27FC236}">
                <a16:creationId xmlns:a16="http://schemas.microsoft.com/office/drawing/2014/main" id="{F7BB3856-62D3-5962-E359-4ABBD215CA21}"/>
              </a:ext>
            </a:extLst>
          </p:cNvPr>
          <p:cNvSpPr/>
          <p:nvPr/>
        </p:nvSpPr>
        <p:spPr>
          <a:xfrm>
            <a:off x="3194602" y="1998015"/>
            <a:ext cx="5778300" cy="22027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2400" dirty="0">
                <a:solidFill>
                  <a:schemeClr val="accent1">
                    <a:lumMod val="75000"/>
                  </a:schemeClr>
                </a:solidFill>
              </a:rPr>
              <a:t>Data platform</a:t>
            </a:r>
            <a:endParaRPr lang="en-BE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Rechthoek: afgeronde hoeken 8">
            <a:extLst>
              <a:ext uri="{FF2B5EF4-FFF2-40B4-BE49-F238E27FC236}">
                <a16:creationId xmlns:a16="http://schemas.microsoft.com/office/drawing/2014/main" id="{4E00AF17-9876-82AB-1918-075C7F65F512}"/>
              </a:ext>
            </a:extLst>
          </p:cNvPr>
          <p:cNvSpPr/>
          <p:nvPr/>
        </p:nvSpPr>
        <p:spPr>
          <a:xfrm>
            <a:off x="3665715" y="2501077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Inges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Rechthoek: afgeronde hoeken 9">
            <a:extLst>
              <a:ext uri="{FF2B5EF4-FFF2-40B4-BE49-F238E27FC236}">
                <a16:creationId xmlns:a16="http://schemas.microsoft.com/office/drawing/2014/main" id="{F7CA6D37-5A0E-6C1B-C947-7B1530D66106}"/>
              </a:ext>
            </a:extLst>
          </p:cNvPr>
          <p:cNvSpPr/>
          <p:nvPr/>
        </p:nvSpPr>
        <p:spPr>
          <a:xfrm>
            <a:off x="5290652" y="2501077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Transformation</a:t>
            </a:r>
            <a:endParaRPr lang="en-B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echthoek: afgeronde hoeken 10">
            <a:extLst>
              <a:ext uri="{FF2B5EF4-FFF2-40B4-BE49-F238E27FC236}">
                <a16:creationId xmlns:a16="http://schemas.microsoft.com/office/drawing/2014/main" id="{E5FD2761-A417-0059-78E3-0C3AD7E970DB}"/>
              </a:ext>
            </a:extLst>
          </p:cNvPr>
          <p:cNvSpPr/>
          <p:nvPr/>
        </p:nvSpPr>
        <p:spPr>
          <a:xfrm>
            <a:off x="6929753" y="2501076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Serv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Rechthoek: afgeronde hoeken 11">
            <a:extLst>
              <a:ext uri="{FF2B5EF4-FFF2-40B4-BE49-F238E27FC236}">
                <a16:creationId xmlns:a16="http://schemas.microsoft.com/office/drawing/2014/main" id="{EADF5B38-9D46-45F7-8020-08BD70667E4D}"/>
              </a:ext>
            </a:extLst>
          </p:cNvPr>
          <p:cNvSpPr/>
          <p:nvPr/>
        </p:nvSpPr>
        <p:spPr>
          <a:xfrm>
            <a:off x="3665715" y="3426237"/>
            <a:ext cx="4850238" cy="4518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dirty="0">
                <a:solidFill>
                  <a:schemeClr val="accent1">
                    <a:lumMod val="75000"/>
                  </a:schemeClr>
                </a:solidFill>
              </a:rPr>
              <a:t>Storage</a:t>
            </a:r>
            <a:endParaRPr lang="en-B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Rechthoek: afgeronde hoeken 15">
            <a:extLst>
              <a:ext uri="{FF2B5EF4-FFF2-40B4-BE49-F238E27FC236}">
                <a16:creationId xmlns:a16="http://schemas.microsoft.com/office/drawing/2014/main" id="{B76AAA08-7FF1-7051-6311-D6F65F380C92}"/>
              </a:ext>
            </a:extLst>
          </p:cNvPr>
          <p:cNvSpPr/>
          <p:nvPr/>
        </p:nvSpPr>
        <p:spPr>
          <a:xfrm>
            <a:off x="803528" y="2755720"/>
            <a:ext cx="1586199" cy="86061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 Source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Pijl: rechts 16">
            <a:extLst>
              <a:ext uri="{FF2B5EF4-FFF2-40B4-BE49-F238E27FC236}">
                <a16:creationId xmlns:a16="http://schemas.microsoft.com/office/drawing/2014/main" id="{821CDE74-FF22-0EDA-0F88-A74681F6AE57}"/>
              </a:ext>
            </a:extLst>
          </p:cNvPr>
          <p:cNvSpPr/>
          <p:nvPr/>
        </p:nvSpPr>
        <p:spPr>
          <a:xfrm>
            <a:off x="5043550" y="3205701"/>
            <a:ext cx="469630" cy="753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2" name="Pijl: rechts 17">
            <a:extLst>
              <a:ext uri="{FF2B5EF4-FFF2-40B4-BE49-F238E27FC236}">
                <a16:creationId xmlns:a16="http://schemas.microsoft.com/office/drawing/2014/main" id="{E9CD2A38-989E-7936-674B-65D8793FD256}"/>
              </a:ext>
            </a:extLst>
          </p:cNvPr>
          <p:cNvSpPr/>
          <p:nvPr/>
        </p:nvSpPr>
        <p:spPr>
          <a:xfrm>
            <a:off x="6656199" y="3205701"/>
            <a:ext cx="469630" cy="753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3" name="Pijl: rechts 18">
            <a:extLst>
              <a:ext uri="{FF2B5EF4-FFF2-40B4-BE49-F238E27FC236}">
                <a16:creationId xmlns:a16="http://schemas.microsoft.com/office/drawing/2014/main" id="{726DEB38-17C2-5326-C66B-5F56AB4B8D49}"/>
              </a:ext>
            </a:extLst>
          </p:cNvPr>
          <p:cNvSpPr/>
          <p:nvPr/>
        </p:nvSpPr>
        <p:spPr>
          <a:xfrm>
            <a:off x="2568290" y="3168049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4" name="Pijl: rechts 19">
            <a:extLst>
              <a:ext uri="{FF2B5EF4-FFF2-40B4-BE49-F238E27FC236}">
                <a16:creationId xmlns:a16="http://schemas.microsoft.com/office/drawing/2014/main" id="{C5C41FBE-B947-4D46-B17B-2A1153931DCE}"/>
              </a:ext>
            </a:extLst>
          </p:cNvPr>
          <p:cNvSpPr/>
          <p:nvPr/>
        </p:nvSpPr>
        <p:spPr>
          <a:xfrm>
            <a:off x="9180456" y="2296679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5" name="Pijl: rechts 20">
            <a:extLst>
              <a:ext uri="{FF2B5EF4-FFF2-40B4-BE49-F238E27FC236}">
                <a16:creationId xmlns:a16="http://schemas.microsoft.com/office/drawing/2014/main" id="{44890AA1-FBD5-3E2A-6952-48302CC9BBC6}"/>
              </a:ext>
            </a:extLst>
          </p:cNvPr>
          <p:cNvSpPr/>
          <p:nvPr/>
        </p:nvSpPr>
        <p:spPr>
          <a:xfrm>
            <a:off x="9151465" y="3130397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6" name="Pijl: rechts 21">
            <a:extLst>
              <a:ext uri="{FF2B5EF4-FFF2-40B4-BE49-F238E27FC236}">
                <a16:creationId xmlns:a16="http://schemas.microsoft.com/office/drawing/2014/main" id="{6BEE8572-3389-94A2-12B9-F69BD96DA083}"/>
              </a:ext>
            </a:extLst>
          </p:cNvPr>
          <p:cNvSpPr/>
          <p:nvPr/>
        </p:nvSpPr>
        <p:spPr>
          <a:xfrm>
            <a:off x="9129584" y="3958734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7" name="Rechthoek: afgeronde hoeken 22">
            <a:extLst>
              <a:ext uri="{FF2B5EF4-FFF2-40B4-BE49-F238E27FC236}">
                <a16:creationId xmlns:a16="http://schemas.microsoft.com/office/drawing/2014/main" id="{085BF53F-F099-C02E-83EB-3ECBE5CAA2B0}"/>
              </a:ext>
            </a:extLst>
          </p:cNvPr>
          <p:cNvSpPr/>
          <p:nvPr/>
        </p:nvSpPr>
        <p:spPr>
          <a:xfrm>
            <a:off x="9857641" y="1823343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Analytic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echthoek: afgeronde hoeken 23">
            <a:extLst>
              <a:ext uri="{FF2B5EF4-FFF2-40B4-BE49-F238E27FC236}">
                <a16:creationId xmlns:a16="http://schemas.microsoft.com/office/drawing/2014/main" id="{C3577AC9-CE80-4112-2CC4-FC76B5C31091}"/>
              </a:ext>
            </a:extLst>
          </p:cNvPr>
          <p:cNvSpPr/>
          <p:nvPr/>
        </p:nvSpPr>
        <p:spPr>
          <a:xfrm>
            <a:off x="9857641" y="2721605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Machine Learn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9" name="Rechthoek: afgeronde hoeken 24">
            <a:extLst>
              <a:ext uri="{FF2B5EF4-FFF2-40B4-BE49-F238E27FC236}">
                <a16:creationId xmlns:a16="http://schemas.microsoft.com/office/drawing/2014/main" id="{A5A0C9CF-6722-98AE-98FD-38B1E3EA01AC}"/>
              </a:ext>
            </a:extLst>
          </p:cNvPr>
          <p:cNvSpPr/>
          <p:nvPr/>
        </p:nvSpPr>
        <p:spPr>
          <a:xfrm>
            <a:off x="9857641" y="3619867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Integra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20" name="Rechte verbindingslijn 26">
            <a:extLst>
              <a:ext uri="{FF2B5EF4-FFF2-40B4-BE49-F238E27FC236}">
                <a16:creationId xmlns:a16="http://schemas.microsoft.com/office/drawing/2014/main" id="{C8CA1C31-93FD-0C72-AE8B-F72E3B77D7C6}"/>
              </a:ext>
            </a:extLst>
          </p:cNvPr>
          <p:cNvCxnSpPr>
            <a:cxnSpLocks/>
          </p:cNvCxnSpPr>
          <p:nvPr/>
        </p:nvCxnSpPr>
        <p:spPr>
          <a:xfrm>
            <a:off x="277393" y="4705121"/>
            <a:ext cx="1155561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kstvak 28">
            <a:extLst>
              <a:ext uri="{FF2B5EF4-FFF2-40B4-BE49-F238E27FC236}">
                <a16:creationId xmlns:a16="http://schemas.microsoft.com/office/drawing/2014/main" id="{15CE7A8B-77D3-4A14-F34B-F9B87DE3D83B}"/>
              </a:ext>
            </a:extLst>
          </p:cNvPr>
          <p:cNvSpPr txBox="1"/>
          <p:nvPr/>
        </p:nvSpPr>
        <p:spPr>
          <a:xfrm>
            <a:off x="5176145" y="4720742"/>
            <a:ext cx="1753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dirty="0" err="1">
                <a:solidFill>
                  <a:schemeClr val="accent1">
                    <a:lumMod val="75000"/>
                  </a:schemeClr>
                </a:solidFill>
              </a:rPr>
              <a:t>Undercurrents</a:t>
            </a:r>
            <a:endParaRPr lang="en-B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Rechthoek: afgeronde hoeken 39">
            <a:extLst>
              <a:ext uri="{FF2B5EF4-FFF2-40B4-BE49-F238E27FC236}">
                <a16:creationId xmlns:a16="http://schemas.microsoft.com/office/drawing/2014/main" id="{005A3E5C-4E6B-ED82-9EF6-50F9289F97B8}"/>
              </a:ext>
            </a:extLst>
          </p:cNvPr>
          <p:cNvSpPr/>
          <p:nvPr/>
        </p:nvSpPr>
        <p:spPr>
          <a:xfrm>
            <a:off x="6902537" y="5156811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Orchestra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3" name="Rechthoek: afgeronde hoeken 40">
            <a:extLst>
              <a:ext uri="{FF2B5EF4-FFF2-40B4-BE49-F238E27FC236}">
                <a16:creationId xmlns:a16="http://schemas.microsoft.com/office/drawing/2014/main" id="{C8D3EB74-8D1C-5AE9-45F5-0FCCF75F8DBE}"/>
              </a:ext>
            </a:extLst>
          </p:cNvPr>
          <p:cNvSpPr/>
          <p:nvPr/>
        </p:nvSpPr>
        <p:spPr>
          <a:xfrm>
            <a:off x="8558831" y="5162607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Software Engineer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Rechthoek: afgeronde hoeken 42">
            <a:extLst>
              <a:ext uri="{FF2B5EF4-FFF2-40B4-BE49-F238E27FC236}">
                <a16:creationId xmlns:a16="http://schemas.microsoft.com/office/drawing/2014/main" id="{FEEBC3DF-65DB-35F8-98AD-1CBCEE4120B6}"/>
              </a:ext>
            </a:extLst>
          </p:cNvPr>
          <p:cNvSpPr/>
          <p:nvPr/>
        </p:nvSpPr>
        <p:spPr>
          <a:xfrm>
            <a:off x="277355" y="5143640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Security</a:t>
            </a:r>
            <a:endParaRPr lang="en-B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Rechthoek: afgeronde hoeken 43">
            <a:extLst>
              <a:ext uri="{FF2B5EF4-FFF2-40B4-BE49-F238E27FC236}">
                <a16:creationId xmlns:a16="http://schemas.microsoft.com/office/drawing/2014/main" id="{F2940F19-D81B-3E91-88EB-5C03256056F9}"/>
              </a:ext>
            </a:extLst>
          </p:cNvPr>
          <p:cNvSpPr/>
          <p:nvPr/>
        </p:nvSpPr>
        <p:spPr>
          <a:xfrm>
            <a:off x="1933650" y="5149436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</a:t>
            </a:r>
            <a:r>
              <a:rPr lang="nl-BE" sz="1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Management</a:t>
            </a:r>
            <a:endParaRPr lang="en-B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6" name="Rechthoek: afgeronde hoeken 44">
            <a:extLst>
              <a:ext uri="{FF2B5EF4-FFF2-40B4-BE49-F238E27FC236}">
                <a16:creationId xmlns:a16="http://schemas.microsoft.com/office/drawing/2014/main" id="{A9DC158D-D4FA-5FA1-CA33-FFD6DAA09289}"/>
              </a:ext>
            </a:extLst>
          </p:cNvPr>
          <p:cNvSpPr/>
          <p:nvPr/>
        </p:nvSpPr>
        <p:spPr>
          <a:xfrm>
            <a:off x="3589946" y="5155232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DataOp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7" name="Rechthoek: afgeronde hoeken 45">
            <a:extLst>
              <a:ext uri="{FF2B5EF4-FFF2-40B4-BE49-F238E27FC236}">
                <a16:creationId xmlns:a16="http://schemas.microsoft.com/office/drawing/2014/main" id="{AF06F1B5-8FF5-B466-7D65-D95198619C06}"/>
              </a:ext>
            </a:extLst>
          </p:cNvPr>
          <p:cNvSpPr/>
          <p:nvPr/>
        </p:nvSpPr>
        <p:spPr>
          <a:xfrm>
            <a:off x="5246241" y="5161029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 Architecture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Rechthoek: afgeronde hoeken 4">
            <a:extLst>
              <a:ext uri="{FF2B5EF4-FFF2-40B4-BE49-F238E27FC236}">
                <a16:creationId xmlns:a16="http://schemas.microsoft.com/office/drawing/2014/main" id="{C387D03F-A0BE-BA46-E914-8A2DC998D8B0}"/>
              </a:ext>
            </a:extLst>
          </p:cNvPr>
          <p:cNvSpPr/>
          <p:nvPr/>
        </p:nvSpPr>
        <p:spPr>
          <a:xfrm>
            <a:off x="10215125" y="5167839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Cost</a:t>
            </a:r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 Management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7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8E5"/>
                                      </p:to>
                                    </p:animClr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1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D199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8" grpId="0" animBg="1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3977134"/>
            <a:chOff x="1893204" y="1698853"/>
            <a:chExt cx="8777518" cy="3977134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7427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rgbClr val="FFF8E5"/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5E08049D-8DBD-9AC1-8524-555DF5368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06" y="5878691"/>
            <a:ext cx="359385" cy="359385"/>
          </a:xfrm>
          <a:prstGeom prst="rect">
            <a:avLst/>
          </a:prstGeom>
        </p:spPr>
      </p:pic>
      <p:sp>
        <p:nvSpPr>
          <p:cNvPr id="32" name="Tekstvak 41">
            <a:extLst>
              <a:ext uri="{FF2B5EF4-FFF2-40B4-BE49-F238E27FC236}">
                <a16:creationId xmlns:a16="http://schemas.microsoft.com/office/drawing/2014/main" id="{3B20353B-056F-6ADC-7F8E-D00B73472D25}"/>
              </a:ext>
            </a:extLst>
          </p:cNvPr>
          <p:cNvSpPr txBox="1"/>
          <p:nvPr/>
        </p:nvSpPr>
        <p:spPr>
          <a:xfrm>
            <a:off x="806791" y="5904495"/>
            <a:ext cx="872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Entra</a:t>
            </a:r>
            <a:r>
              <a:rPr lang="en-US" sz="1400" dirty="0"/>
              <a:t> ID</a:t>
            </a:r>
            <a:endParaRPr lang="en-US" sz="2000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C78CE23-14F1-74AC-3AF7-7D4418F04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6479" y="6328233"/>
            <a:ext cx="359385" cy="359385"/>
          </a:xfrm>
          <a:prstGeom prst="rect">
            <a:avLst/>
          </a:prstGeom>
        </p:spPr>
      </p:pic>
      <p:sp>
        <p:nvSpPr>
          <p:cNvPr id="34" name="Tekstvak 44">
            <a:extLst>
              <a:ext uri="{FF2B5EF4-FFF2-40B4-BE49-F238E27FC236}">
                <a16:creationId xmlns:a16="http://schemas.microsoft.com/office/drawing/2014/main" id="{2D3404E8-8F1D-4AE3-3562-6BD9A54AC169}"/>
              </a:ext>
            </a:extLst>
          </p:cNvPr>
          <p:cNvSpPr txBox="1"/>
          <p:nvPr/>
        </p:nvSpPr>
        <p:spPr>
          <a:xfrm>
            <a:off x="806791" y="6354037"/>
            <a:ext cx="990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Key Vault</a:t>
            </a:r>
            <a:endParaRPr lang="en-US" sz="2000" dirty="0"/>
          </a:p>
        </p:txBody>
      </p:sp>
      <p:sp>
        <p:nvSpPr>
          <p:cNvPr id="38" name="Rechthoek 52">
            <a:extLst>
              <a:ext uri="{FF2B5EF4-FFF2-40B4-BE49-F238E27FC236}">
                <a16:creationId xmlns:a16="http://schemas.microsoft.com/office/drawing/2014/main" id="{505DDFB4-7937-4986-795F-E40F3130921B}"/>
              </a:ext>
            </a:extLst>
          </p:cNvPr>
          <p:cNvSpPr/>
          <p:nvPr/>
        </p:nvSpPr>
        <p:spPr>
          <a:xfrm>
            <a:off x="4050201" y="5894807"/>
            <a:ext cx="861133" cy="327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kstvak 51">
            <a:extLst>
              <a:ext uri="{FF2B5EF4-FFF2-40B4-BE49-F238E27FC236}">
                <a16:creationId xmlns:a16="http://schemas.microsoft.com/office/drawing/2014/main" id="{EF404E25-F05D-C6DD-D242-BF579E8C4EC9}"/>
              </a:ext>
            </a:extLst>
          </p:cNvPr>
          <p:cNvSpPr txBox="1"/>
          <p:nvPr/>
        </p:nvSpPr>
        <p:spPr>
          <a:xfrm>
            <a:off x="4023805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0" name="Picture 2" descr="Azure Devops Logo PNG vector in SVG, PDF, AI, CDR format">
            <a:extLst>
              <a:ext uri="{FF2B5EF4-FFF2-40B4-BE49-F238E27FC236}">
                <a16:creationId xmlns:a16="http://schemas.microsoft.com/office/drawing/2014/main" id="{49DF96B7-F904-785B-FBF3-E22A32E77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175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Afbeelding 53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2724679F-1E83-2BF1-D0DD-4CC6267C08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377" y="5935744"/>
            <a:ext cx="244801" cy="245279"/>
          </a:xfrm>
          <a:prstGeom prst="rect">
            <a:avLst/>
          </a:prstGeom>
        </p:spPr>
      </p:pic>
      <p:sp>
        <p:nvSpPr>
          <p:cNvPr id="42" name="Tekstvak 54">
            <a:extLst>
              <a:ext uri="{FF2B5EF4-FFF2-40B4-BE49-F238E27FC236}">
                <a16:creationId xmlns:a16="http://schemas.microsoft.com/office/drawing/2014/main" id="{A873D263-2A32-C662-E9B9-26A3DFE74C46}"/>
              </a:ext>
            </a:extLst>
          </p:cNvPr>
          <p:cNvSpPr txBox="1"/>
          <p:nvPr/>
        </p:nvSpPr>
        <p:spPr>
          <a:xfrm>
            <a:off x="7207311" y="5904495"/>
            <a:ext cx="12682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Data Factory</a:t>
            </a:r>
            <a:endParaRPr lang="en-US" sz="2000" dirty="0"/>
          </a:p>
        </p:txBody>
      </p:sp>
      <p:sp>
        <p:nvSpPr>
          <p:cNvPr id="43" name="Tekstvak 55">
            <a:extLst>
              <a:ext uri="{FF2B5EF4-FFF2-40B4-BE49-F238E27FC236}">
                <a16:creationId xmlns:a16="http://schemas.microsoft.com/office/drawing/2014/main" id="{6CA09944-DC59-00AC-1CA5-D7E86C4FA3C4}"/>
              </a:ext>
            </a:extLst>
          </p:cNvPr>
          <p:cNvSpPr txBox="1"/>
          <p:nvPr/>
        </p:nvSpPr>
        <p:spPr>
          <a:xfrm>
            <a:off x="8962287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4" name="Picture 2" descr="Azure Devops Logo PNG vector in SVG, PDF, AI, CDR format">
            <a:extLst>
              <a:ext uri="{FF2B5EF4-FFF2-40B4-BE49-F238E27FC236}">
                <a16:creationId xmlns:a16="http://schemas.microsoft.com/office/drawing/2014/main" id="{DE1EDACC-0F76-FDF3-2ACF-CB3B647CE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657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Azure Repos Logo PNG vector in SVG, PDF, AI, CDR format">
            <a:extLst>
              <a:ext uri="{FF2B5EF4-FFF2-40B4-BE49-F238E27FC236}">
                <a16:creationId xmlns:a16="http://schemas.microsoft.com/office/drawing/2014/main" id="{ABBA8645-7E5F-416A-FCB7-9F0C7823D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671" y="6319368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kstvak 58">
            <a:extLst>
              <a:ext uri="{FF2B5EF4-FFF2-40B4-BE49-F238E27FC236}">
                <a16:creationId xmlns:a16="http://schemas.microsoft.com/office/drawing/2014/main" id="{D1F91B39-4CBB-4B4A-AE25-40BB5F3FB154}"/>
              </a:ext>
            </a:extLst>
          </p:cNvPr>
          <p:cNvSpPr txBox="1"/>
          <p:nvPr/>
        </p:nvSpPr>
        <p:spPr>
          <a:xfrm>
            <a:off x="8962287" y="6354037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pos</a:t>
            </a:r>
            <a:endParaRPr lang="en-US" sz="2000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1A94C140-F939-69BE-231F-0CBB245497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32884" y="5907433"/>
            <a:ext cx="301900" cy="301900"/>
          </a:xfrm>
          <a:prstGeom prst="rect">
            <a:avLst/>
          </a:prstGeom>
        </p:spPr>
      </p:pic>
      <p:sp>
        <p:nvSpPr>
          <p:cNvPr id="48" name="Tekstvak 1030">
            <a:extLst>
              <a:ext uri="{FF2B5EF4-FFF2-40B4-BE49-F238E27FC236}">
                <a16:creationId xmlns:a16="http://schemas.microsoft.com/office/drawing/2014/main" id="{0AFDDBEA-338B-15F2-8D37-DAD4E5C5EEC4}"/>
              </a:ext>
            </a:extLst>
          </p:cNvPr>
          <p:cNvSpPr txBox="1"/>
          <p:nvPr/>
        </p:nvSpPr>
        <p:spPr>
          <a:xfrm>
            <a:off x="10502097" y="5904495"/>
            <a:ext cx="17251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ost Management</a:t>
            </a:r>
            <a:endParaRPr lang="en-US" sz="2000" dirty="0"/>
          </a:p>
        </p:txBody>
      </p:sp>
      <p:pic>
        <p:nvPicPr>
          <p:cNvPr id="49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8EB57E82-898B-9977-D5CF-D8B8953FFCA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003" y="6371130"/>
            <a:ext cx="273057" cy="273591"/>
          </a:xfrm>
          <a:prstGeom prst="rect">
            <a:avLst/>
          </a:prstGeom>
        </p:spPr>
      </p:pic>
      <p:sp>
        <p:nvSpPr>
          <p:cNvPr id="50" name="Tekstvak 1032">
            <a:extLst>
              <a:ext uri="{FF2B5EF4-FFF2-40B4-BE49-F238E27FC236}">
                <a16:creationId xmlns:a16="http://schemas.microsoft.com/office/drawing/2014/main" id="{54A61659-1658-845F-CF9A-524AC2784F48}"/>
              </a:ext>
            </a:extLst>
          </p:cNvPr>
          <p:cNvSpPr txBox="1"/>
          <p:nvPr/>
        </p:nvSpPr>
        <p:spPr>
          <a:xfrm>
            <a:off x="10515241" y="6354037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ower BI</a:t>
            </a:r>
            <a:endParaRPr lang="en-US" sz="2000" dirty="0"/>
          </a:p>
        </p:txBody>
      </p:sp>
      <p:pic>
        <p:nvPicPr>
          <p:cNvPr id="51" name="Picture 2" descr="Getting started with Terraform in DevOps - Aviator Blog">
            <a:extLst>
              <a:ext uri="{FF2B5EF4-FFF2-40B4-BE49-F238E27FC236}">
                <a16:creationId xmlns:a16="http://schemas.microsoft.com/office/drawing/2014/main" id="{49289B0E-F193-B521-0E5F-5C64A2A1A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75" y="6310058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kstvak 2">
            <a:extLst>
              <a:ext uri="{FF2B5EF4-FFF2-40B4-BE49-F238E27FC236}">
                <a16:creationId xmlns:a16="http://schemas.microsoft.com/office/drawing/2014/main" id="{27C0C6DE-12F9-1D32-82E1-9B9E86B0E0FB}"/>
              </a:ext>
            </a:extLst>
          </p:cNvPr>
          <p:cNvSpPr txBox="1"/>
          <p:nvPr/>
        </p:nvSpPr>
        <p:spPr>
          <a:xfrm>
            <a:off x="4008238" y="6354037"/>
            <a:ext cx="101931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Terraform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9611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3977134"/>
            <a:chOff x="1893204" y="1698853"/>
            <a:chExt cx="8777518" cy="3977134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b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</a:br>
              <a:b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7427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rgbClr val="FFF8E5"/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5E08049D-8DBD-9AC1-8524-555DF5368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06" y="5878691"/>
            <a:ext cx="359385" cy="359385"/>
          </a:xfrm>
          <a:prstGeom prst="rect">
            <a:avLst/>
          </a:prstGeom>
        </p:spPr>
      </p:pic>
      <p:sp>
        <p:nvSpPr>
          <p:cNvPr id="32" name="Tekstvak 41">
            <a:extLst>
              <a:ext uri="{FF2B5EF4-FFF2-40B4-BE49-F238E27FC236}">
                <a16:creationId xmlns:a16="http://schemas.microsoft.com/office/drawing/2014/main" id="{3B20353B-056F-6ADC-7F8E-D00B73472D25}"/>
              </a:ext>
            </a:extLst>
          </p:cNvPr>
          <p:cNvSpPr txBox="1"/>
          <p:nvPr/>
        </p:nvSpPr>
        <p:spPr>
          <a:xfrm>
            <a:off x="806791" y="5904495"/>
            <a:ext cx="872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Entra</a:t>
            </a:r>
            <a:r>
              <a:rPr lang="en-US" sz="1400" dirty="0"/>
              <a:t> ID</a:t>
            </a:r>
            <a:endParaRPr lang="en-US" sz="2000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C78CE23-14F1-74AC-3AF7-7D4418F04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6479" y="6328233"/>
            <a:ext cx="359385" cy="359385"/>
          </a:xfrm>
          <a:prstGeom prst="rect">
            <a:avLst/>
          </a:prstGeom>
        </p:spPr>
      </p:pic>
      <p:sp>
        <p:nvSpPr>
          <p:cNvPr id="34" name="Tekstvak 44">
            <a:extLst>
              <a:ext uri="{FF2B5EF4-FFF2-40B4-BE49-F238E27FC236}">
                <a16:creationId xmlns:a16="http://schemas.microsoft.com/office/drawing/2014/main" id="{2D3404E8-8F1D-4AE3-3562-6BD9A54AC169}"/>
              </a:ext>
            </a:extLst>
          </p:cNvPr>
          <p:cNvSpPr txBox="1"/>
          <p:nvPr/>
        </p:nvSpPr>
        <p:spPr>
          <a:xfrm>
            <a:off x="806791" y="6354037"/>
            <a:ext cx="990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Key Vault</a:t>
            </a:r>
            <a:endParaRPr lang="en-US" sz="2000" dirty="0"/>
          </a:p>
        </p:txBody>
      </p:sp>
      <p:sp>
        <p:nvSpPr>
          <p:cNvPr id="38" name="Rechthoek 52">
            <a:extLst>
              <a:ext uri="{FF2B5EF4-FFF2-40B4-BE49-F238E27FC236}">
                <a16:creationId xmlns:a16="http://schemas.microsoft.com/office/drawing/2014/main" id="{505DDFB4-7937-4986-795F-E40F3130921B}"/>
              </a:ext>
            </a:extLst>
          </p:cNvPr>
          <p:cNvSpPr/>
          <p:nvPr/>
        </p:nvSpPr>
        <p:spPr>
          <a:xfrm>
            <a:off x="4050201" y="5894807"/>
            <a:ext cx="861133" cy="327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kstvak 51">
            <a:extLst>
              <a:ext uri="{FF2B5EF4-FFF2-40B4-BE49-F238E27FC236}">
                <a16:creationId xmlns:a16="http://schemas.microsoft.com/office/drawing/2014/main" id="{EF404E25-F05D-C6DD-D242-BF579E8C4EC9}"/>
              </a:ext>
            </a:extLst>
          </p:cNvPr>
          <p:cNvSpPr txBox="1"/>
          <p:nvPr/>
        </p:nvSpPr>
        <p:spPr>
          <a:xfrm>
            <a:off x="4023805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0" name="Picture 2" descr="Azure Devops Logo PNG vector in SVG, PDF, AI, CDR format">
            <a:extLst>
              <a:ext uri="{FF2B5EF4-FFF2-40B4-BE49-F238E27FC236}">
                <a16:creationId xmlns:a16="http://schemas.microsoft.com/office/drawing/2014/main" id="{49DF96B7-F904-785B-FBF3-E22A32E77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175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kstvak 54">
            <a:extLst>
              <a:ext uri="{FF2B5EF4-FFF2-40B4-BE49-F238E27FC236}">
                <a16:creationId xmlns:a16="http://schemas.microsoft.com/office/drawing/2014/main" id="{A873D263-2A32-C662-E9B9-26A3DFE74C46}"/>
              </a:ext>
            </a:extLst>
          </p:cNvPr>
          <p:cNvSpPr txBox="1"/>
          <p:nvPr/>
        </p:nvSpPr>
        <p:spPr>
          <a:xfrm>
            <a:off x="7207311" y="5904495"/>
            <a:ext cx="12682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Data Factory</a:t>
            </a:r>
            <a:endParaRPr lang="en-US" sz="2000" dirty="0"/>
          </a:p>
        </p:txBody>
      </p:sp>
      <p:sp>
        <p:nvSpPr>
          <p:cNvPr id="43" name="Tekstvak 55">
            <a:extLst>
              <a:ext uri="{FF2B5EF4-FFF2-40B4-BE49-F238E27FC236}">
                <a16:creationId xmlns:a16="http://schemas.microsoft.com/office/drawing/2014/main" id="{6CA09944-DC59-00AC-1CA5-D7E86C4FA3C4}"/>
              </a:ext>
            </a:extLst>
          </p:cNvPr>
          <p:cNvSpPr txBox="1"/>
          <p:nvPr/>
        </p:nvSpPr>
        <p:spPr>
          <a:xfrm>
            <a:off x="8962287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4" name="Picture 2" descr="Azure Devops Logo PNG vector in SVG, PDF, AI, CDR format">
            <a:extLst>
              <a:ext uri="{FF2B5EF4-FFF2-40B4-BE49-F238E27FC236}">
                <a16:creationId xmlns:a16="http://schemas.microsoft.com/office/drawing/2014/main" id="{DE1EDACC-0F76-FDF3-2ACF-CB3B647CE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657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Azure Repos Logo PNG vector in SVG, PDF, AI, CDR format">
            <a:extLst>
              <a:ext uri="{FF2B5EF4-FFF2-40B4-BE49-F238E27FC236}">
                <a16:creationId xmlns:a16="http://schemas.microsoft.com/office/drawing/2014/main" id="{ABBA8645-7E5F-416A-FCB7-9F0C7823D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671" y="6319368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kstvak 58">
            <a:extLst>
              <a:ext uri="{FF2B5EF4-FFF2-40B4-BE49-F238E27FC236}">
                <a16:creationId xmlns:a16="http://schemas.microsoft.com/office/drawing/2014/main" id="{D1F91B39-4CBB-4B4A-AE25-40BB5F3FB154}"/>
              </a:ext>
            </a:extLst>
          </p:cNvPr>
          <p:cNvSpPr txBox="1"/>
          <p:nvPr/>
        </p:nvSpPr>
        <p:spPr>
          <a:xfrm>
            <a:off x="8962287" y="6354037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pos</a:t>
            </a:r>
            <a:endParaRPr lang="en-US" sz="2000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1A94C140-F939-69BE-231F-0CBB245497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32884" y="5907433"/>
            <a:ext cx="301900" cy="301900"/>
          </a:xfrm>
          <a:prstGeom prst="rect">
            <a:avLst/>
          </a:prstGeom>
        </p:spPr>
      </p:pic>
      <p:sp>
        <p:nvSpPr>
          <p:cNvPr id="48" name="Tekstvak 1030">
            <a:extLst>
              <a:ext uri="{FF2B5EF4-FFF2-40B4-BE49-F238E27FC236}">
                <a16:creationId xmlns:a16="http://schemas.microsoft.com/office/drawing/2014/main" id="{0AFDDBEA-338B-15F2-8D37-DAD4E5C5EEC4}"/>
              </a:ext>
            </a:extLst>
          </p:cNvPr>
          <p:cNvSpPr txBox="1"/>
          <p:nvPr/>
        </p:nvSpPr>
        <p:spPr>
          <a:xfrm>
            <a:off x="10502097" y="5904495"/>
            <a:ext cx="17251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ost Management</a:t>
            </a:r>
            <a:endParaRPr lang="en-US" sz="2000" dirty="0"/>
          </a:p>
        </p:txBody>
      </p:sp>
      <p:pic>
        <p:nvPicPr>
          <p:cNvPr id="49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8EB57E82-898B-9977-D5CF-D8B8953FFC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003" y="6371130"/>
            <a:ext cx="273057" cy="273591"/>
          </a:xfrm>
          <a:prstGeom prst="rect">
            <a:avLst/>
          </a:prstGeom>
        </p:spPr>
      </p:pic>
      <p:sp>
        <p:nvSpPr>
          <p:cNvPr id="50" name="Tekstvak 1032">
            <a:extLst>
              <a:ext uri="{FF2B5EF4-FFF2-40B4-BE49-F238E27FC236}">
                <a16:creationId xmlns:a16="http://schemas.microsoft.com/office/drawing/2014/main" id="{54A61659-1658-845F-CF9A-524AC2784F48}"/>
              </a:ext>
            </a:extLst>
          </p:cNvPr>
          <p:cNvSpPr txBox="1"/>
          <p:nvPr/>
        </p:nvSpPr>
        <p:spPr>
          <a:xfrm>
            <a:off x="10515241" y="6354037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ower BI</a:t>
            </a:r>
            <a:endParaRPr lang="en-US" sz="2000" dirty="0"/>
          </a:p>
        </p:txBody>
      </p:sp>
      <p:pic>
        <p:nvPicPr>
          <p:cNvPr id="51" name="Picture 2" descr="Getting started with Terraform in DevOps - Aviator Blog">
            <a:extLst>
              <a:ext uri="{FF2B5EF4-FFF2-40B4-BE49-F238E27FC236}">
                <a16:creationId xmlns:a16="http://schemas.microsoft.com/office/drawing/2014/main" id="{49289B0E-F193-B521-0E5F-5C64A2A1A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75" y="6310058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kstvak 2">
            <a:extLst>
              <a:ext uri="{FF2B5EF4-FFF2-40B4-BE49-F238E27FC236}">
                <a16:creationId xmlns:a16="http://schemas.microsoft.com/office/drawing/2014/main" id="{27C0C6DE-12F9-1D32-82E1-9B9E86B0E0FB}"/>
              </a:ext>
            </a:extLst>
          </p:cNvPr>
          <p:cNvSpPr txBox="1"/>
          <p:nvPr/>
        </p:nvSpPr>
        <p:spPr>
          <a:xfrm>
            <a:off x="4008238" y="6354037"/>
            <a:ext cx="101931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Terraform</a:t>
            </a:r>
            <a:endParaRPr lang="en-US" sz="2000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48AB70E-5B9D-D7A2-E096-E515FC4A786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713" y="3349530"/>
            <a:ext cx="572794" cy="572794"/>
          </a:xfrm>
          <a:prstGeom prst="rect">
            <a:avLst/>
          </a:prstGeom>
        </p:spPr>
      </p:pic>
      <p:pic>
        <p:nvPicPr>
          <p:cNvPr id="16" name="Picture 6" descr="SharePoint Online | Thomas-Krenn.AG">
            <a:extLst>
              <a:ext uri="{FF2B5EF4-FFF2-40B4-BE49-F238E27FC236}">
                <a16:creationId xmlns:a16="http://schemas.microsoft.com/office/drawing/2014/main" id="{AD43268F-F591-611B-DC90-92A8D9F3A7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52" t="10449" r="17798" b="12381"/>
          <a:stretch/>
        </p:blipFill>
        <p:spPr bwMode="auto">
          <a:xfrm>
            <a:off x="1531548" y="3738472"/>
            <a:ext cx="732386" cy="654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Exact Online – Syneton">
            <a:extLst>
              <a:ext uri="{FF2B5EF4-FFF2-40B4-BE49-F238E27FC236}">
                <a16:creationId xmlns:a16="http://schemas.microsoft.com/office/drawing/2014/main" id="{304BDB6B-D144-CBA6-D863-494975AD4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59" b="26410"/>
          <a:stretch/>
        </p:blipFill>
        <p:spPr bwMode="auto">
          <a:xfrm>
            <a:off x="1158133" y="1441849"/>
            <a:ext cx="1055232" cy="51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AFAS Software Integratie voor geavanceerde planning - Timewax">
            <a:extLst>
              <a:ext uri="{FF2B5EF4-FFF2-40B4-BE49-F238E27FC236}">
                <a16:creationId xmlns:a16="http://schemas.microsoft.com/office/drawing/2014/main" id="{A4F3DA49-3954-AEBF-A7D1-A18626E4AC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98" b="23999"/>
          <a:stretch/>
        </p:blipFill>
        <p:spPr bwMode="auto">
          <a:xfrm>
            <a:off x="606171" y="1827456"/>
            <a:ext cx="1055232" cy="54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57C83A6-978F-A6F3-455D-95A5DF33D5C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5339" y="3642135"/>
            <a:ext cx="572794" cy="572794"/>
          </a:xfrm>
          <a:prstGeom prst="rect">
            <a:avLst/>
          </a:prstGeom>
        </p:spPr>
      </p:pic>
      <p:pic>
        <p:nvPicPr>
          <p:cNvPr id="3074" name="Picture 2" descr="What is Microsoft CRM Dynamics 365? | TechRadar">
            <a:extLst>
              <a:ext uri="{FF2B5EF4-FFF2-40B4-BE49-F238E27FC236}">
                <a16:creationId xmlns:a16="http://schemas.microsoft.com/office/drawing/2014/main" id="{9F41EAB6-3171-47AE-2F65-E06B80D61A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2" t="20232" r="6922" b="20489"/>
          <a:stretch/>
        </p:blipFill>
        <p:spPr bwMode="auto">
          <a:xfrm>
            <a:off x="1602021" y="2061247"/>
            <a:ext cx="1488803" cy="576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Afbeelding 13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A27A6A5E-E5E2-23BD-994D-1CD39DF5F8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109" y="2773336"/>
            <a:ext cx="587204" cy="588351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6460BD68-7B16-2257-F3C8-5A463BCCB6D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04255" y="3524615"/>
            <a:ext cx="572794" cy="572794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EEED50FA-3537-8E06-E354-B526AE2F75D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130124" y="2516610"/>
            <a:ext cx="572794" cy="572794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370C85BD-C397-E62C-9906-1D28F3FD221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728568" y="2402536"/>
            <a:ext cx="483185" cy="483185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6D64791F-7C0C-4296-9F2B-C28FFA731B6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243269" y="2338944"/>
            <a:ext cx="544528" cy="54452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48075621-5ACF-975C-8410-24E1791FE2FF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32368" t="16434" r="33020" b="12217"/>
          <a:stretch/>
        </p:blipFill>
        <p:spPr>
          <a:xfrm>
            <a:off x="5858808" y="2531505"/>
            <a:ext cx="464051" cy="552588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CAB3D931-7F89-EAD7-EFAC-E48A8B5ECAA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844573" y="2420918"/>
            <a:ext cx="396000" cy="3960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F1D1BD74-835D-1805-6715-ED494869460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969262" y="5882492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2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gest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7806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281309E-040C-B2FD-263C-FCDB9D20F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ata Factor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07E5BC-8CC4-4108-D33B-CC02534A1D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812" y="2355574"/>
            <a:ext cx="11018376" cy="2822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48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45CB2F-A918-26E1-3416-7B35EC262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driven</a:t>
            </a:r>
            <a:endParaRPr lang="nl-B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2C1FBFC-C9B5-4C54-D3A9-B1060BF401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742950" indent="-742950">
              <a:buFont typeface="+mj-lt"/>
              <a:buAutoNum type="arabicPeriod"/>
            </a:pPr>
            <a:r>
              <a:rPr lang="en-US" sz="3600" dirty="0"/>
              <a:t>develop something once</a:t>
            </a:r>
          </a:p>
          <a:p>
            <a:pPr marL="0" indent="0">
              <a:buNone/>
            </a:pPr>
            <a:r>
              <a:rPr lang="en-US" sz="3600" dirty="0"/>
              <a:t>	(for example, a connection to your ERP 	 	 system)</a:t>
            </a:r>
          </a:p>
          <a:p>
            <a:pPr marL="742950" indent="-742950">
              <a:buFont typeface="+mj-lt"/>
              <a:buAutoNum type="arabicPeriod"/>
            </a:pPr>
            <a:endParaRPr lang="en-US" sz="3600" dirty="0"/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parameterize it</a:t>
            </a:r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new table/file/REST endpoint? Just add </a:t>
            </a:r>
            <a:r>
              <a:rPr lang="en-US" sz="3600" b="1" dirty="0"/>
              <a:t>metadata</a:t>
            </a:r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try to get metadata of the source programmatically </a:t>
            </a:r>
          </a:p>
        </p:txBody>
      </p:sp>
    </p:spTree>
    <p:extLst>
      <p:ext uri="{BB962C8B-B14F-4D97-AF65-F5344CB8AC3E}">
        <p14:creationId xmlns:p14="http://schemas.microsoft.com/office/powerpoint/2010/main" val="242430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20F31D-0130-46CE-BD74-AF2DA2AFA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BA2B00-4226-44A4-BE6E-D4813C40C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16" y="1414673"/>
            <a:ext cx="6904318" cy="49610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9A2EBAD-69FA-41DF-A9A8-EC53EF3710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721"/>
          <a:stretch/>
        </p:blipFill>
        <p:spPr>
          <a:xfrm>
            <a:off x="5318481" y="4152900"/>
            <a:ext cx="6431837" cy="2053718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A3DE0DF-DB67-48A8-8220-587ABF5E2286}"/>
              </a:ext>
            </a:extLst>
          </p:cNvPr>
          <p:cNvCxnSpPr>
            <a:cxnSpLocks/>
          </p:cNvCxnSpPr>
          <p:nvPr/>
        </p:nvCxnSpPr>
        <p:spPr>
          <a:xfrm>
            <a:off x="5076092" y="2099182"/>
            <a:ext cx="0" cy="124189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71EA53D-37A2-4EBC-ACF6-98C3F4E53963}"/>
              </a:ext>
            </a:extLst>
          </p:cNvPr>
          <p:cNvCxnSpPr>
            <a:cxnSpLocks/>
          </p:cNvCxnSpPr>
          <p:nvPr/>
        </p:nvCxnSpPr>
        <p:spPr>
          <a:xfrm flipH="1">
            <a:off x="2672862" y="2099182"/>
            <a:ext cx="2403230" cy="2053718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81771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2795" y="406242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4" y="5440610"/>
            <a:ext cx="1567499" cy="1011148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1FEBA406-336B-63FB-C353-14F9C7EA9518}"/>
              </a:ext>
            </a:extLst>
          </p:cNvPr>
          <p:cNvGrpSpPr/>
          <p:nvPr/>
        </p:nvGrpSpPr>
        <p:grpSpPr>
          <a:xfrm>
            <a:off x="5253217" y="1927169"/>
            <a:ext cx="3905687" cy="3573947"/>
            <a:chOff x="4773977" y="1927169"/>
            <a:chExt cx="3905687" cy="3573947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73977" y="1927169"/>
              <a:ext cx="3905687" cy="3573947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7051C6D-78B1-59B7-B9BC-3EBEC011A325}"/>
                </a:ext>
              </a:extLst>
            </p:cNvPr>
            <p:cNvSpPr/>
            <p:nvPr/>
          </p:nvSpPr>
          <p:spPr>
            <a:xfrm>
              <a:off x="5620241" y="2482055"/>
              <a:ext cx="2080350" cy="817158"/>
            </a:xfrm>
            <a:prstGeom prst="rect">
              <a:avLst/>
            </a:prstGeom>
            <a:solidFill>
              <a:srgbClr val="0141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EF421D3E-7995-26AF-CF10-33BB35995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8482" y="2655817"/>
              <a:ext cx="1218766" cy="491726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6696D23-0EF0-7C20-D99D-C68772852727}"/>
                </a:ext>
              </a:extLst>
            </p:cNvPr>
            <p:cNvSpPr/>
            <p:nvPr/>
          </p:nvSpPr>
          <p:spPr>
            <a:xfrm>
              <a:off x="5609728" y="3296832"/>
              <a:ext cx="2080350" cy="817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</a:p>
          </p:txBody>
        </p:sp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F88F488C-16AD-9784-A4AE-1BF536324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9679" y="3361158"/>
              <a:ext cx="1217568" cy="686891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7E935B5-D698-9B52-40EE-90605D13665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75176" y="3147543"/>
            <a:ext cx="1453566" cy="1516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28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7B019D-7122-4376-8DA1-EB6B44302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DB4D39-914F-4FB6-951D-F673BF8AD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828" y="1706816"/>
            <a:ext cx="8222693" cy="14631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5F1F79-48B3-498F-AB79-94FD0E6A6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828" y="3688018"/>
            <a:ext cx="4564776" cy="297967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06D64C-C664-4B80-A969-6EF0920F15C7}"/>
              </a:ext>
            </a:extLst>
          </p:cNvPr>
          <p:cNvCxnSpPr>
            <a:cxnSpLocks/>
          </p:cNvCxnSpPr>
          <p:nvPr/>
        </p:nvCxnSpPr>
        <p:spPr>
          <a:xfrm flipV="1">
            <a:off x="5603631" y="2977442"/>
            <a:ext cx="273294" cy="107874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5119B61-2193-4FC9-8454-69154CBA0224}"/>
              </a:ext>
            </a:extLst>
          </p:cNvPr>
          <p:cNvCxnSpPr>
            <a:cxnSpLocks/>
          </p:cNvCxnSpPr>
          <p:nvPr/>
        </p:nvCxnSpPr>
        <p:spPr>
          <a:xfrm flipH="1" flipV="1">
            <a:off x="3681046" y="2860431"/>
            <a:ext cx="1922585" cy="119575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155249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43984-E13E-4375-80E3-654D786E6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tch metadata &amp; loop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1442AF-7937-4554-B923-4A34F781AF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383" y="2977442"/>
            <a:ext cx="4541914" cy="16841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26214D-0ED8-4E3D-B0C3-F66A137866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0883" y="1733342"/>
            <a:ext cx="6393734" cy="4801016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6FD5C82-2289-472F-907B-E77E2C6C7C3E}"/>
              </a:ext>
            </a:extLst>
          </p:cNvPr>
          <p:cNvCxnSpPr>
            <a:cxnSpLocks/>
          </p:cNvCxnSpPr>
          <p:nvPr/>
        </p:nvCxnSpPr>
        <p:spPr>
          <a:xfrm flipV="1">
            <a:off x="3876675" y="2977442"/>
            <a:ext cx="2000250" cy="118022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78A532E-3599-42FF-9D21-0B823600FC1F}"/>
              </a:ext>
            </a:extLst>
          </p:cNvPr>
          <p:cNvSpPr txBox="1"/>
          <p:nvPr/>
        </p:nvSpPr>
        <p:spPr>
          <a:xfrm>
            <a:off x="8794505" y="4661608"/>
            <a:ext cx="2846509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8464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91D3D-B4D2-47EE-9C2D-B55367F9B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l in parameters at runtim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ECADBA-4BF2-4F20-9A86-C998FD04E0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677" y="1495276"/>
            <a:ext cx="5799323" cy="34292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19E5FB-CF9C-41AE-BA6B-1B0E0CEEE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637" y="4785180"/>
            <a:ext cx="5707875" cy="207282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2E39FB2-EDD9-4181-B7DC-1EF439F469E8}"/>
              </a:ext>
            </a:extLst>
          </p:cNvPr>
          <p:cNvCxnSpPr>
            <a:cxnSpLocks/>
          </p:cNvCxnSpPr>
          <p:nvPr/>
        </p:nvCxnSpPr>
        <p:spPr>
          <a:xfrm flipV="1">
            <a:off x="2838450" y="4785180"/>
            <a:ext cx="0" cy="82504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97A74DA-4F10-4C36-8A95-DED29E7C06E3}"/>
              </a:ext>
            </a:extLst>
          </p:cNvPr>
          <p:cNvSpPr txBox="1"/>
          <p:nvPr/>
        </p:nvSpPr>
        <p:spPr>
          <a:xfrm>
            <a:off x="1049530" y="5686425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use dynamic content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A0860C2-E349-4A66-AA18-3F90993F4C60}"/>
              </a:ext>
            </a:extLst>
          </p:cNvPr>
          <p:cNvCxnSpPr>
            <a:cxnSpLocks/>
          </p:cNvCxnSpPr>
          <p:nvPr/>
        </p:nvCxnSpPr>
        <p:spPr>
          <a:xfrm flipH="1">
            <a:off x="7800975" y="3738265"/>
            <a:ext cx="1181100" cy="230058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0971B56-C51B-4B9E-B9CB-2AA441125B86}"/>
              </a:ext>
            </a:extLst>
          </p:cNvPr>
          <p:cNvSpPr txBox="1"/>
          <p:nvPr/>
        </p:nvSpPr>
        <p:spPr>
          <a:xfrm>
            <a:off x="7383654" y="2425094"/>
            <a:ext cx="39701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 need for mapping in simple use cases</a:t>
            </a:r>
          </a:p>
          <a:p>
            <a:r>
              <a:rPr 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 use same column names!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04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442F1-FBFD-4B97-3B23-6D517BB85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4CC0F60-1765-D86F-376C-0F03BE4CCD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3ACB451-40C1-8A36-2F7F-925EE4C3CBFE}"/>
              </a:ext>
            </a:extLst>
          </p:cNvPr>
          <p:cNvSpPr txBox="1"/>
          <p:nvPr/>
        </p:nvSpPr>
        <p:spPr>
          <a:xfrm>
            <a:off x="5370654" y="701463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374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656085"/>
            <a:ext cx="10515600" cy="47196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149177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361" y="147765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24532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41432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23909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D4E6E3-DCC9-C9F2-545F-4B2392BB7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50% cost saving with one single confi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BCE96-1F54-506D-22C5-5D31E531C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14" y="1767528"/>
            <a:ext cx="10896571" cy="40989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85AD1C-5DFD-B97F-8917-59665A4BEF31}"/>
              </a:ext>
            </a:extLst>
          </p:cNvPr>
          <p:cNvSpPr txBox="1"/>
          <p:nvPr/>
        </p:nvSpPr>
        <p:spPr>
          <a:xfrm>
            <a:off x="3293479" y="3718559"/>
            <a:ext cx="437274" cy="34137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153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337E40-4DCE-8F2C-0218-C39A7B0AD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ove compute to somewhere else</a:t>
            </a:r>
            <a:endParaRPr lang="nl-B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3A07E-C9F1-F989-DEA2-18BA9122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ferably to something that doesn’t have pricing per minute</a:t>
            </a:r>
          </a:p>
          <a:p>
            <a:r>
              <a:rPr lang="en-US" dirty="0"/>
              <a:t>such as an Azure SQL DB</a:t>
            </a:r>
          </a:p>
          <a:p>
            <a:pPr lvl="1"/>
            <a:r>
              <a:rPr lang="nl-BE" b="1" dirty="0" err="1"/>
              <a:t>scale</a:t>
            </a:r>
            <a:r>
              <a:rPr lang="nl-BE" b="1" dirty="0"/>
              <a:t> up </a:t>
            </a:r>
            <a:r>
              <a:rPr lang="nl-BE" dirty="0" err="1"/>
              <a:t>before</a:t>
            </a:r>
            <a:r>
              <a:rPr lang="nl-BE" dirty="0"/>
              <a:t> ELT</a:t>
            </a:r>
          </a:p>
          <a:p>
            <a:pPr lvl="1"/>
            <a:r>
              <a:rPr lang="nl-BE" b="1" dirty="0" err="1"/>
              <a:t>scale</a:t>
            </a:r>
            <a:r>
              <a:rPr lang="nl-BE" b="1" dirty="0"/>
              <a:t> down </a:t>
            </a:r>
            <a:r>
              <a:rPr lang="nl-BE" dirty="0" err="1"/>
              <a:t>once</a:t>
            </a:r>
            <a:r>
              <a:rPr lang="nl-BE" dirty="0"/>
              <a:t> ELT is </a:t>
            </a:r>
            <a:r>
              <a:rPr lang="nl-BE" dirty="0" err="1"/>
              <a:t>done</a:t>
            </a:r>
            <a:endParaRPr lang="nl-BE" dirty="0"/>
          </a:p>
          <a:p>
            <a:pPr lvl="1"/>
            <a:endParaRPr lang="nl-BE" dirty="0"/>
          </a:p>
          <a:p>
            <a:endParaRPr lang="nl-BE" dirty="0"/>
          </a:p>
          <a:p>
            <a:r>
              <a:rPr lang="nl-BE" dirty="0"/>
              <a:t>or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compute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is </a:t>
            </a:r>
            <a:r>
              <a:rPr lang="nl-BE" dirty="0" err="1"/>
              <a:t>just</a:t>
            </a:r>
            <a:r>
              <a:rPr lang="nl-BE" dirty="0"/>
              <a:t> </a:t>
            </a:r>
            <a:r>
              <a:rPr lang="nl-BE" dirty="0" err="1"/>
              <a:t>cheaper</a:t>
            </a:r>
            <a:endParaRPr lang="nl-BE" dirty="0"/>
          </a:p>
          <a:p>
            <a:r>
              <a:rPr lang="nl-BE" b="1" dirty="0"/>
              <a:t>Azure </a:t>
            </a:r>
            <a:r>
              <a:rPr lang="nl-BE" b="1" dirty="0" err="1"/>
              <a:t>Functions</a:t>
            </a:r>
            <a:r>
              <a:rPr lang="nl-BE" dirty="0"/>
              <a:t> or </a:t>
            </a:r>
            <a:r>
              <a:rPr lang="nl-BE" b="1" dirty="0"/>
              <a:t>Azure Logic Apps </a:t>
            </a:r>
            <a:r>
              <a:rPr lang="nl-BE" dirty="0"/>
              <a:t>are </a:t>
            </a:r>
            <a:r>
              <a:rPr lang="nl-BE" dirty="0" err="1"/>
              <a:t>good</a:t>
            </a:r>
            <a:r>
              <a:rPr lang="nl-BE" dirty="0"/>
              <a:t> </a:t>
            </a:r>
            <a:r>
              <a:rPr lang="nl-BE" dirty="0" err="1"/>
              <a:t>alternatives</a:t>
            </a:r>
            <a:endParaRPr lang="nl-BE" dirty="0"/>
          </a:p>
          <a:p>
            <a:endParaRPr lang="nl-BE" dirty="0"/>
          </a:p>
          <a:p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bigger</a:t>
            </a:r>
            <a:r>
              <a:rPr lang="nl-BE" dirty="0"/>
              <a:t> </a:t>
            </a:r>
            <a:r>
              <a:rPr lang="nl-BE" dirty="0" err="1"/>
              <a:t>workloads</a:t>
            </a:r>
            <a:r>
              <a:rPr lang="nl-BE" dirty="0"/>
              <a:t>, </a:t>
            </a:r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consider</a:t>
            </a:r>
            <a:r>
              <a:rPr lang="nl-BE" dirty="0"/>
              <a:t> </a:t>
            </a:r>
            <a:r>
              <a:rPr lang="nl-BE" dirty="0" err="1"/>
              <a:t>using</a:t>
            </a:r>
            <a:r>
              <a:rPr lang="nl-BE" dirty="0"/>
              <a:t> a </a:t>
            </a:r>
            <a:r>
              <a:rPr lang="nl-BE" b="1" dirty="0" err="1"/>
              <a:t>self-hosted</a:t>
            </a:r>
            <a:r>
              <a:rPr lang="nl-BE" b="1" dirty="0"/>
              <a:t> IR</a:t>
            </a:r>
            <a:r>
              <a:rPr lang="nl-BE" dirty="0"/>
              <a:t> in a VM</a:t>
            </a:r>
          </a:p>
        </p:txBody>
      </p:sp>
    </p:spTree>
    <p:extLst>
      <p:ext uri="{BB962C8B-B14F-4D97-AF65-F5344CB8AC3E}">
        <p14:creationId xmlns:p14="http://schemas.microsoft.com/office/powerpoint/2010/main" val="3701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699167-48E6-637A-4C04-A104B45563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59270" y="2451877"/>
            <a:ext cx="7173387" cy="267002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6779E57-D2B5-B6A9-864B-F6159BECD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ctions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9913E4-1DA9-4951-AC8B-30E4F15AD934}"/>
              </a:ext>
            </a:extLst>
          </p:cNvPr>
          <p:cNvSpPr txBox="1"/>
          <p:nvPr/>
        </p:nvSpPr>
        <p:spPr>
          <a:xfrm>
            <a:off x="4357495" y="2648568"/>
            <a:ext cx="2010041" cy="2276642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0629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FAD5-410E-8C80-3E66-914B371D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7A08A8-3450-CA1D-09BB-4658FCDA5D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9876" y="1289981"/>
            <a:ext cx="8924671" cy="4807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29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DD0474-C3FE-07C8-DF97-3A73B2A744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Azure Data Factory and the Exact Online REST API</a:t>
            </a:r>
            <a:endParaRPr lang="en-US" dirty="0"/>
          </a:p>
          <a:p>
            <a:r>
              <a:rPr lang="en-US" dirty="0">
                <a:hlinkClick r:id="rId3"/>
              </a:rPr>
              <a:t>Reading AFAS REST API Data with Azure Logic Apps</a:t>
            </a:r>
            <a:endParaRPr lang="en-US" dirty="0"/>
          </a:p>
          <a:p>
            <a:r>
              <a:rPr lang="en-US" dirty="0">
                <a:hlinkClick r:id="rId4"/>
              </a:rPr>
              <a:t>Build Once – Add Metadata (the importance of metadata-driven frameworks)</a:t>
            </a:r>
            <a:endParaRPr lang="en-US" dirty="0"/>
          </a:p>
          <a:p>
            <a:r>
              <a:rPr lang="en-US" dirty="0">
                <a:hlinkClick r:id="rId5"/>
              </a:rPr>
              <a:t>Dynamic Datasets in Azure Data Factory</a:t>
            </a:r>
            <a:endParaRPr lang="en-US" dirty="0"/>
          </a:p>
          <a:p>
            <a:r>
              <a:rPr lang="en-US" dirty="0">
                <a:hlinkClick r:id="rId6"/>
              </a:rPr>
              <a:t>Building Flexible and Dynamic Azure Data Factory Pipelines</a:t>
            </a:r>
            <a:endParaRPr lang="en-US" dirty="0"/>
          </a:p>
          <a:p>
            <a:r>
              <a:rPr lang="en-US" dirty="0">
                <a:hlinkClick r:id="rId7"/>
              </a:rPr>
              <a:t>Dynamically Map JSON to SQL in Azure Data Factory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C95011-866E-6B8C-963D-2C1FA036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4828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40148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ransform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2794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936139F-F221-F0EE-F870-622D560F5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’s all SQL</a:t>
            </a:r>
            <a:endParaRPr lang="nl-BE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C33E3EF-7803-B523-AD43-65524978B5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46497" y="3031672"/>
            <a:ext cx="1263994" cy="126399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7F931B0-9292-DDE1-5E5E-1FA718741B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86658" y="3031672"/>
            <a:ext cx="1263994" cy="126399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058721D-0094-1FB0-C51B-49FBBDE7B1B9}"/>
              </a:ext>
            </a:extLst>
          </p:cNvPr>
          <p:cNvSpPr txBox="1"/>
          <p:nvPr/>
        </p:nvSpPr>
        <p:spPr>
          <a:xfrm>
            <a:off x="2371909" y="4300856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EA216B-286D-530E-CF8E-62C8E6DD6654}"/>
              </a:ext>
            </a:extLst>
          </p:cNvPr>
          <p:cNvSpPr txBox="1"/>
          <p:nvPr/>
        </p:nvSpPr>
        <p:spPr>
          <a:xfrm>
            <a:off x="8038064" y="4295666"/>
            <a:ext cx="761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DWH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DBB1DD-1390-7CFE-1B23-60C73FF39E82}"/>
              </a:ext>
            </a:extLst>
          </p:cNvPr>
          <p:cNvSpPr/>
          <p:nvPr/>
        </p:nvSpPr>
        <p:spPr>
          <a:xfrm>
            <a:off x="1754155" y="2388637"/>
            <a:ext cx="2248678" cy="2761861"/>
          </a:xfrm>
          <a:prstGeom prst="rect">
            <a:avLst/>
          </a:prstGeom>
          <a:noFill/>
          <a:ln w="571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82FE77-2938-0686-76C5-6B4E709123E7}"/>
              </a:ext>
            </a:extLst>
          </p:cNvPr>
          <p:cNvSpPr txBox="1"/>
          <p:nvPr/>
        </p:nvSpPr>
        <p:spPr>
          <a:xfrm>
            <a:off x="2466843" y="5208582"/>
            <a:ext cx="823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views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72FD43F5-F9AE-AEE5-3AF7-B5674C590FB6}"/>
              </a:ext>
            </a:extLst>
          </p:cNvPr>
          <p:cNvSpPr/>
          <p:nvPr/>
        </p:nvSpPr>
        <p:spPr>
          <a:xfrm>
            <a:off x="5029200" y="3601616"/>
            <a:ext cx="1660848" cy="35456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E9FFF1A-100C-1A03-F5EF-AFF6732A61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13605" y="2764346"/>
            <a:ext cx="492038" cy="4920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8FCE946-CF74-799B-F488-7DC53982AB15}"/>
              </a:ext>
            </a:extLst>
          </p:cNvPr>
          <p:cNvSpPr txBox="1"/>
          <p:nvPr/>
        </p:nvSpPr>
        <p:spPr>
          <a:xfrm>
            <a:off x="5266091" y="3304812"/>
            <a:ext cx="1187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etadata</a:t>
            </a:r>
            <a:endParaRPr lang="nl-BE" dirty="0">
              <a:solidFill>
                <a:schemeClr val="accent1"/>
              </a:solidFill>
            </a:endParaRPr>
          </a:p>
        </p:txBody>
      </p:sp>
      <p:pic>
        <p:nvPicPr>
          <p:cNvPr id="15" name="Picture 14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30D24507-8C08-55C0-BD98-D10BF50625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797" y="3905164"/>
            <a:ext cx="1263995" cy="1263995"/>
          </a:xfrm>
          <a:prstGeom prst="rect">
            <a:avLst/>
          </a:prstGeom>
        </p:spPr>
      </p:pic>
      <p:pic>
        <p:nvPicPr>
          <p:cNvPr id="16" name="Picture 1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BA3EEC03-0410-CF58-00D8-5B3061C3F8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304" y="4512343"/>
            <a:ext cx="1263995" cy="126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574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/>
      <p:bldP spid="12" grpId="0" animBg="1"/>
      <p:bldP spid="1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Stormtrooper Star Wars photo and picture">
            <a:extLst>
              <a:ext uri="{FF2B5EF4-FFF2-40B4-BE49-F238E27FC236}">
                <a16:creationId xmlns:a16="http://schemas.microsoft.com/office/drawing/2014/main" id="{4195C54A-8297-7A95-450A-D1BA772E4733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6254"/>
            <a:ext cx="12191999" cy="6954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AF0C73D-9F7A-8696-618B-FAFEF22DC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it’s all about pattern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00426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9E4F8-1060-6919-2200-15359CD06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1 dimension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4DF17B5-F2E9-E12F-AB80-746B49FFA9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2698607"/>
            <a:ext cx="1263994" cy="1263994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15B7A1ED-62DF-1D27-C3FC-2F6B5D93F8DE}"/>
              </a:ext>
            </a:extLst>
          </p:cNvPr>
          <p:cNvSpPr/>
          <p:nvPr/>
        </p:nvSpPr>
        <p:spPr>
          <a:xfrm>
            <a:off x="2384899" y="3217923"/>
            <a:ext cx="1547290" cy="2918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33EB96-9527-3147-DC64-F66364C24211}"/>
              </a:ext>
            </a:extLst>
          </p:cNvPr>
          <p:cNvSpPr txBox="1"/>
          <p:nvPr/>
        </p:nvSpPr>
        <p:spPr>
          <a:xfrm>
            <a:off x="963611" y="3944965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8E1F17-8D6F-7B24-CCED-C607F2795FBA}"/>
              </a:ext>
            </a:extLst>
          </p:cNvPr>
          <p:cNvSpPr txBox="1"/>
          <p:nvPr/>
        </p:nvSpPr>
        <p:spPr>
          <a:xfrm>
            <a:off x="2102193" y="3509753"/>
            <a:ext cx="23840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basic data quality checks + business logic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9BE160AB-5D5F-BB92-C969-921E2A7CA19C}"/>
              </a:ext>
            </a:extLst>
          </p:cNvPr>
          <p:cNvSpPr/>
          <p:nvPr/>
        </p:nvSpPr>
        <p:spPr>
          <a:xfrm>
            <a:off x="4210560" y="2853846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W?</a:t>
            </a:r>
            <a:endParaRPr lang="nl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EFC580-ADE6-22B3-7447-6210726613E4}"/>
              </a:ext>
            </a:extLst>
          </p:cNvPr>
          <p:cNvGrpSpPr/>
          <p:nvPr/>
        </p:nvGrpSpPr>
        <p:grpSpPr>
          <a:xfrm>
            <a:off x="4934137" y="2046142"/>
            <a:ext cx="1683342" cy="807704"/>
            <a:chOff x="5535038" y="2474159"/>
            <a:chExt cx="1683342" cy="807704"/>
          </a:xfrm>
        </p:grpSpPr>
        <p:sp>
          <p:nvSpPr>
            <p:cNvPr id="9" name="Arrow: Bent 8">
              <a:extLst>
                <a:ext uri="{FF2B5EF4-FFF2-40B4-BE49-F238E27FC236}">
                  <a16:creationId xmlns:a16="http://schemas.microsoft.com/office/drawing/2014/main" id="{4F9BAC7B-3BD7-253F-9CB3-4183CED8BA3B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F72FE17-D7F2-656F-13C0-62F893C325D6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636417C1-E047-0CCF-554F-E7B86C009114}"/>
              </a:ext>
            </a:extLst>
          </p:cNvPr>
          <p:cNvSpPr/>
          <p:nvPr/>
        </p:nvSpPr>
        <p:spPr>
          <a:xfrm>
            <a:off x="6617479" y="1944413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3849B6-B096-6ADA-869A-81210AD64B44}"/>
              </a:ext>
            </a:extLst>
          </p:cNvPr>
          <p:cNvGrpSpPr/>
          <p:nvPr/>
        </p:nvGrpSpPr>
        <p:grpSpPr>
          <a:xfrm>
            <a:off x="4934137" y="3873830"/>
            <a:ext cx="1683342" cy="807704"/>
            <a:chOff x="5535038" y="4301847"/>
            <a:chExt cx="1683342" cy="807704"/>
          </a:xfrm>
        </p:grpSpPr>
        <p:sp>
          <p:nvSpPr>
            <p:cNvPr id="13" name="Arrow: Bent 12">
              <a:extLst>
                <a:ext uri="{FF2B5EF4-FFF2-40B4-BE49-F238E27FC236}">
                  <a16:creationId xmlns:a16="http://schemas.microsoft.com/office/drawing/2014/main" id="{209C3ECA-8CEC-196B-0E98-7027E6946402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58E3A5D-C91F-B8C5-9E06-1D4F6F77903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Diamond 14">
            <a:extLst>
              <a:ext uri="{FF2B5EF4-FFF2-40B4-BE49-F238E27FC236}">
                <a16:creationId xmlns:a16="http://schemas.microsoft.com/office/drawing/2014/main" id="{7728E823-E129-BA42-DD8A-69188D9C1C77}"/>
              </a:ext>
            </a:extLst>
          </p:cNvPr>
          <p:cNvSpPr/>
          <p:nvPr/>
        </p:nvSpPr>
        <p:spPr>
          <a:xfrm>
            <a:off x="6617479" y="3952356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hash?</a:t>
            </a:r>
            <a:endParaRPr lang="nl-BE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FCC33-E8F0-88F0-2C81-7D05E328270D}"/>
              </a:ext>
            </a:extLst>
          </p:cNvPr>
          <p:cNvGrpSpPr/>
          <p:nvPr/>
        </p:nvGrpSpPr>
        <p:grpSpPr>
          <a:xfrm>
            <a:off x="7353082" y="3137261"/>
            <a:ext cx="1683342" cy="807704"/>
            <a:chOff x="5535038" y="2474159"/>
            <a:chExt cx="1683342" cy="807704"/>
          </a:xfrm>
        </p:grpSpPr>
        <p:sp>
          <p:nvSpPr>
            <p:cNvPr id="19" name="Arrow: Bent 18">
              <a:extLst>
                <a:ext uri="{FF2B5EF4-FFF2-40B4-BE49-F238E27FC236}">
                  <a16:creationId xmlns:a16="http://schemas.microsoft.com/office/drawing/2014/main" id="{9C183E6B-1016-6230-1D25-DF6A23F814B0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E0B93F-27AA-CD1A-0EF5-53DF578079BC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lowchart: Terminator 20">
            <a:extLst>
              <a:ext uri="{FF2B5EF4-FFF2-40B4-BE49-F238E27FC236}">
                <a16:creationId xmlns:a16="http://schemas.microsoft.com/office/drawing/2014/main" id="{5EC26CDF-2709-68B1-7526-9AFC64230AD0}"/>
              </a:ext>
            </a:extLst>
          </p:cNvPr>
          <p:cNvSpPr/>
          <p:nvPr/>
        </p:nvSpPr>
        <p:spPr>
          <a:xfrm>
            <a:off x="9036424" y="3047965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pdate</a:t>
            </a:r>
            <a:endParaRPr lang="nl-B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784CA2-18C4-E934-A61E-BAFC718836FB}"/>
              </a:ext>
            </a:extLst>
          </p:cNvPr>
          <p:cNvGrpSpPr/>
          <p:nvPr/>
        </p:nvGrpSpPr>
        <p:grpSpPr>
          <a:xfrm>
            <a:off x="7353082" y="4979731"/>
            <a:ext cx="1683342" cy="807704"/>
            <a:chOff x="5535038" y="4301847"/>
            <a:chExt cx="1683342" cy="807704"/>
          </a:xfrm>
        </p:grpSpPr>
        <p:sp>
          <p:nvSpPr>
            <p:cNvPr id="23" name="Arrow: Bent 22">
              <a:extLst>
                <a:ext uri="{FF2B5EF4-FFF2-40B4-BE49-F238E27FC236}">
                  <a16:creationId xmlns:a16="http://schemas.microsoft.com/office/drawing/2014/main" id="{14A355C3-F981-2C6C-8FB3-D892845F549D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37DAA1-0292-70B9-8295-E2674E4E9F63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D052208E-AD50-7EF8-E782-19A6D02171B8}"/>
              </a:ext>
            </a:extLst>
          </p:cNvPr>
          <p:cNvSpPr/>
          <p:nvPr/>
        </p:nvSpPr>
        <p:spPr>
          <a:xfrm>
            <a:off x="9036424" y="5294287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gnor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7326883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79D2B-2E18-F878-19F3-02DAC6907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1 dimens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6D3EBD-13B4-2B44-1F0F-7A99FE90B2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566" y="2242448"/>
            <a:ext cx="11936867" cy="270681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819E4FF-0F50-F100-1BDD-4F87079634B1}"/>
              </a:ext>
            </a:extLst>
          </p:cNvPr>
          <p:cNvSpPr txBox="1"/>
          <p:nvPr/>
        </p:nvSpPr>
        <p:spPr>
          <a:xfrm>
            <a:off x="127566" y="2421592"/>
            <a:ext cx="7732383" cy="179999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4C6B5-FDEA-58AF-764A-BB0B7BE49019}"/>
              </a:ext>
            </a:extLst>
          </p:cNvPr>
          <p:cNvSpPr txBox="1"/>
          <p:nvPr/>
        </p:nvSpPr>
        <p:spPr>
          <a:xfrm>
            <a:off x="202109" y="1780783"/>
            <a:ext cx="24049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ummy record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84628-93E4-9B36-E5F3-1A5CFF767745}"/>
              </a:ext>
            </a:extLst>
          </p:cNvPr>
          <p:cNvSpPr txBox="1"/>
          <p:nvPr/>
        </p:nvSpPr>
        <p:spPr>
          <a:xfrm>
            <a:off x="116217" y="2601592"/>
            <a:ext cx="721983" cy="237526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ECFD54-76A4-FDE8-85BB-DF1927359B68}"/>
              </a:ext>
            </a:extLst>
          </p:cNvPr>
          <p:cNvSpPr txBox="1"/>
          <p:nvPr/>
        </p:nvSpPr>
        <p:spPr>
          <a:xfrm>
            <a:off x="0" y="4926026"/>
            <a:ext cx="4513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K = identity(1,1) = PK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FBD8D-EAA9-3328-A170-9FD2F48927AB}"/>
              </a:ext>
            </a:extLst>
          </p:cNvPr>
          <p:cNvSpPr txBox="1"/>
          <p:nvPr/>
        </p:nvSpPr>
        <p:spPr>
          <a:xfrm>
            <a:off x="857655" y="2601591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712466-18D2-BDDB-FEDD-8194AE0F0C9B}"/>
              </a:ext>
            </a:extLst>
          </p:cNvPr>
          <p:cNvSpPr txBox="1"/>
          <p:nvPr/>
        </p:nvSpPr>
        <p:spPr>
          <a:xfrm>
            <a:off x="629055" y="5387691"/>
            <a:ext cx="4513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BK = unique index</a:t>
            </a:r>
            <a:endParaRPr lang="nl-BE" sz="2400" dirty="0">
              <a:solidFill>
                <a:srgbClr val="00188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DEBDC5-BB08-8743-E0DA-9631F452236A}"/>
              </a:ext>
            </a:extLst>
          </p:cNvPr>
          <p:cNvSpPr txBox="1"/>
          <p:nvPr/>
        </p:nvSpPr>
        <p:spPr>
          <a:xfrm>
            <a:off x="7868055" y="2218129"/>
            <a:ext cx="1752600" cy="273113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09138E1-CD48-9E18-F9AF-26A75BA09763}"/>
              </a:ext>
            </a:extLst>
          </p:cNvPr>
          <p:cNvSpPr txBox="1"/>
          <p:nvPr/>
        </p:nvSpPr>
        <p:spPr>
          <a:xfrm>
            <a:off x="7811310" y="4973578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udit column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D5B6BF-CC86-8136-50A1-A774D709ECEB}"/>
              </a:ext>
            </a:extLst>
          </p:cNvPr>
          <p:cNvSpPr txBox="1"/>
          <p:nvPr/>
        </p:nvSpPr>
        <p:spPr>
          <a:xfrm>
            <a:off x="9628761" y="2214848"/>
            <a:ext cx="2510215" cy="2758730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20E1A1-304C-EE6B-3FF9-B0EAF69C2F0E}"/>
              </a:ext>
            </a:extLst>
          </p:cNvPr>
          <p:cNvSpPr txBox="1"/>
          <p:nvPr/>
        </p:nvSpPr>
        <p:spPr>
          <a:xfrm>
            <a:off x="9620655" y="1710094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hash</a:t>
            </a:r>
            <a:endParaRPr lang="nl-BE" sz="2400" dirty="0">
              <a:solidFill>
                <a:srgbClr val="0018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932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/>
      <p:bldP spid="11" grpId="0" animBg="1"/>
      <p:bldP spid="12" grpId="0"/>
      <p:bldP spid="13" grpId="0" animBg="1"/>
      <p:bldP spid="14" grpId="0"/>
      <p:bldP spid="15" grpId="0" animBg="1"/>
      <p:bldP spid="1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9E4F8-1060-6919-2200-15359CD06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2 dimension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4DF17B5-F2E9-E12F-AB80-746B49FFA9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9184" y="2212225"/>
            <a:ext cx="1263994" cy="1263994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15B7A1ED-62DF-1D27-C3FC-2F6B5D93F8DE}"/>
              </a:ext>
            </a:extLst>
          </p:cNvPr>
          <p:cNvSpPr/>
          <p:nvPr/>
        </p:nvSpPr>
        <p:spPr>
          <a:xfrm>
            <a:off x="1371597" y="2731541"/>
            <a:ext cx="1547290" cy="2918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33EB96-9527-3147-DC64-F66364C24211}"/>
              </a:ext>
            </a:extLst>
          </p:cNvPr>
          <p:cNvSpPr txBox="1"/>
          <p:nvPr/>
        </p:nvSpPr>
        <p:spPr>
          <a:xfrm>
            <a:off x="96227" y="3458583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8E1F17-8D6F-7B24-CCED-C607F2795FBA}"/>
              </a:ext>
            </a:extLst>
          </p:cNvPr>
          <p:cNvSpPr txBox="1"/>
          <p:nvPr/>
        </p:nvSpPr>
        <p:spPr>
          <a:xfrm>
            <a:off x="1088891" y="3023371"/>
            <a:ext cx="2096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ame as in type 1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9BE160AB-5D5F-BB92-C969-921E2A7CA19C}"/>
              </a:ext>
            </a:extLst>
          </p:cNvPr>
          <p:cNvSpPr/>
          <p:nvPr/>
        </p:nvSpPr>
        <p:spPr>
          <a:xfrm>
            <a:off x="2918887" y="2372719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W?</a:t>
            </a:r>
            <a:endParaRPr lang="nl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EFC580-ADE6-22B3-7447-6210726613E4}"/>
              </a:ext>
            </a:extLst>
          </p:cNvPr>
          <p:cNvGrpSpPr/>
          <p:nvPr/>
        </p:nvGrpSpPr>
        <p:grpSpPr>
          <a:xfrm>
            <a:off x="3642464" y="1565015"/>
            <a:ext cx="1683342" cy="807704"/>
            <a:chOff x="5535038" y="2474159"/>
            <a:chExt cx="1683342" cy="807704"/>
          </a:xfrm>
        </p:grpSpPr>
        <p:sp>
          <p:nvSpPr>
            <p:cNvPr id="9" name="Arrow: Bent 8">
              <a:extLst>
                <a:ext uri="{FF2B5EF4-FFF2-40B4-BE49-F238E27FC236}">
                  <a16:creationId xmlns:a16="http://schemas.microsoft.com/office/drawing/2014/main" id="{4F9BAC7B-3BD7-253F-9CB3-4183CED8BA3B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F72FE17-D7F2-656F-13C0-62F893C325D6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636417C1-E047-0CCF-554F-E7B86C009114}"/>
              </a:ext>
            </a:extLst>
          </p:cNvPr>
          <p:cNvSpPr/>
          <p:nvPr/>
        </p:nvSpPr>
        <p:spPr>
          <a:xfrm>
            <a:off x="5325806" y="1463286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3849B6-B096-6ADA-869A-81210AD64B44}"/>
              </a:ext>
            </a:extLst>
          </p:cNvPr>
          <p:cNvGrpSpPr/>
          <p:nvPr/>
        </p:nvGrpSpPr>
        <p:grpSpPr>
          <a:xfrm>
            <a:off x="3642464" y="3392703"/>
            <a:ext cx="1683342" cy="807704"/>
            <a:chOff x="5535038" y="4301847"/>
            <a:chExt cx="1683342" cy="807704"/>
          </a:xfrm>
        </p:grpSpPr>
        <p:sp>
          <p:nvSpPr>
            <p:cNvPr id="13" name="Arrow: Bent 12">
              <a:extLst>
                <a:ext uri="{FF2B5EF4-FFF2-40B4-BE49-F238E27FC236}">
                  <a16:creationId xmlns:a16="http://schemas.microsoft.com/office/drawing/2014/main" id="{209C3ECA-8CEC-196B-0E98-7027E6946402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58E3A5D-C91F-B8C5-9E06-1D4F6F77903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Diamond 14">
            <a:extLst>
              <a:ext uri="{FF2B5EF4-FFF2-40B4-BE49-F238E27FC236}">
                <a16:creationId xmlns:a16="http://schemas.microsoft.com/office/drawing/2014/main" id="{7728E823-E129-BA42-DD8A-69188D9C1C77}"/>
              </a:ext>
            </a:extLst>
          </p:cNvPr>
          <p:cNvSpPr/>
          <p:nvPr/>
        </p:nvSpPr>
        <p:spPr>
          <a:xfrm>
            <a:off x="5337832" y="3320799"/>
            <a:ext cx="1862930" cy="134193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 type 2 hash?</a:t>
            </a:r>
            <a:endParaRPr lang="nl-BE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FCC33-E8F0-88F0-2C81-7D05E328270D}"/>
              </a:ext>
            </a:extLst>
          </p:cNvPr>
          <p:cNvGrpSpPr/>
          <p:nvPr/>
        </p:nvGrpSpPr>
        <p:grpSpPr>
          <a:xfrm>
            <a:off x="6167477" y="2508886"/>
            <a:ext cx="1683342" cy="807704"/>
            <a:chOff x="5535038" y="2474159"/>
            <a:chExt cx="1683342" cy="807704"/>
          </a:xfrm>
        </p:grpSpPr>
        <p:sp>
          <p:nvSpPr>
            <p:cNvPr id="19" name="Arrow: Bent 18">
              <a:extLst>
                <a:ext uri="{FF2B5EF4-FFF2-40B4-BE49-F238E27FC236}">
                  <a16:creationId xmlns:a16="http://schemas.microsoft.com/office/drawing/2014/main" id="{9C183E6B-1016-6230-1D25-DF6A23F814B0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E0B93F-27AA-CD1A-0EF5-53DF578079BC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lowchart: Terminator 20">
            <a:extLst>
              <a:ext uri="{FF2B5EF4-FFF2-40B4-BE49-F238E27FC236}">
                <a16:creationId xmlns:a16="http://schemas.microsoft.com/office/drawing/2014/main" id="{5EC26CDF-2709-68B1-7526-9AFC64230AD0}"/>
              </a:ext>
            </a:extLst>
          </p:cNvPr>
          <p:cNvSpPr/>
          <p:nvPr/>
        </p:nvSpPr>
        <p:spPr>
          <a:xfrm>
            <a:off x="7850819" y="2419590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784CA2-18C4-E934-A61E-BAFC718836FB}"/>
              </a:ext>
            </a:extLst>
          </p:cNvPr>
          <p:cNvGrpSpPr/>
          <p:nvPr/>
        </p:nvGrpSpPr>
        <p:grpSpPr>
          <a:xfrm>
            <a:off x="6167477" y="4662730"/>
            <a:ext cx="1683342" cy="807704"/>
            <a:chOff x="5535038" y="4301847"/>
            <a:chExt cx="1683342" cy="807704"/>
          </a:xfrm>
        </p:grpSpPr>
        <p:sp>
          <p:nvSpPr>
            <p:cNvPr id="23" name="Arrow: Bent 22">
              <a:extLst>
                <a:ext uri="{FF2B5EF4-FFF2-40B4-BE49-F238E27FC236}">
                  <a16:creationId xmlns:a16="http://schemas.microsoft.com/office/drawing/2014/main" id="{14A355C3-F981-2C6C-8FB3-D892845F549D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37DAA1-0292-70B9-8295-E2674E4E9F63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D052208E-AD50-7EF8-E782-19A6D02171B8}"/>
              </a:ext>
            </a:extLst>
          </p:cNvPr>
          <p:cNvSpPr/>
          <p:nvPr/>
        </p:nvSpPr>
        <p:spPr>
          <a:xfrm>
            <a:off x="10375832" y="6236769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gnore</a:t>
            </a:r>
            <a:endParaRPr lang="nl-BE" dirty="0"/>
          </a:p>
        </p:txBody>
      </p:sp>
      <p:sp>
        <p:nvSpPr>
          <p:cNvPr id="3" name="Diamond 2">
            <a:extLst>
              <a:ext uri="{FF2B5EF4-FFF2-40B4-BE49-F238E27FC236}">
                <a16:creationId xmlns:a16="http://schemas.microsoft.com/office/drawing/2014/main" id="{96A76518-5DA7-281A-41CF-A40AD7AF3D23}"/>
              </a:ext>
            </a:extLst>
          </p:cNvPr>
          <p:cNvSpPr/>
          <p:nvPr/>
        </p:nvSpPr>
        <p:spPr>
          <a:xfrm>
            <a:off x="7848187" y="4580282"/>
            <a:ext cx="1862930" cy="134193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 type 1 hash?</a:t>
            </a:r>
            <a:endParaRPr lang="nl-B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5CCB23-977B-EB1F-EE74-CA75BBC275EC}"/>
              </a:ext>
            </a:extLst>
          </p:cNvPr>
          <p:cNvGrpSpPr/>
          <p:nvPr/>
        </p:nvGrpSpPr>
        <p:grpSpPr>
          <a:xfrm>
            <a:off x="8692490" y="3772578"/>
            <a:ext cx="1683342" cy="807704"/>
            <a:chOff x="5535038" y="2474159"/>
            <a:chExt cx="1683342" cy="807704"/>
          </a:xfrm>
        </p:grpSpPr>
        <p:sp>
          <p:nvSpPr>
            <p:cNvPr id="26" name="Arrow: Bent 25">
              <a:extLst>
                <a:ext uri="{FF2B5EF4-FFF2-40B4-BE49-F238E27FC236}">
                  <a16:creationId xmlns:a16="http://schemas.microsoft.com/office/drawing/2014/main" id="{09D8B417-FDA7-8F62-0C91-9E4E9E00E88C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B1D29D8-36FA-B016-1F5E-EAB0D2EFEAC5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Flowchart: Terminator 27">
            <a:extLst>
              <a:ext uri="{FF2B5EF4-FFF2-40B4-BE49-F238E27FC236}">
                <a16:creationId xmlns:a16="http://schemas.microsoft.com/office/drawing/2014/main" id="{72B9E146-09CC-68FB-CD45-112E738B67D8}"/>
              </a:ext>
            </a:extLst>
          </p:cNvPr>
          <p:cNvSpPr/>
          <p:nvPr/>
        </p:nvSpPr>
        <p:spPr>
          <a:xfrm>
            <a:off x="10375832" y="3683282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pdate</a:t>
            </a:r>
            <a:endParaRPr lang="nl-BE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F3816A0-EF78-FC1D-6268-605C840649CE}"/>
              </a:ext>
            </a:extLst>
          </p:cNvPr>
          <p:cNvGrpSpPr/>
          <p:nvPr/>
        </p:nvGrpSpPr>
        <p:grpSpPr>
          <a:xfrm>
            <a:off x="8692490" y="5922213"/>
            <a:ext cx="1683342" cy="807704"/>
            <a:chOff x="5535038" y="4301847"/>
            <a:chExt cx="1683342" cy="807704"/>
          </a:xfrm>
        </p:grpSpPr>
        <p:sp>
          <p:nvSpPr>
            <p:cNvPr id="30" name="Arrow: Bent 29">
              <a:extLst>
                <a:ext uri="{FF2B5EF4-FFF2-40B4-BE49-F238E27FC236}">
                  <a16:creationId xmlns:a16="http://schemas.microsoft.com/office/drawing/2014/main" id="{FE71AD4D-62E2-BBAF-4A60-C4DC08011C84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B8B06AA-CD71-4A97-3D6D-16DE3C003BD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452553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73F08-7D07-F1AD-8AF3-3663729E6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2 dimens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E25672-6316-CC88-2970-D5B8E6AA4F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60" y="2346956"/>
            <a:ext cx="11906279" cy="239041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314B4AF-AA97-B917-D416-A248228E396C}"/>
              </a:ext>
            </a:extLst>
          </p:cNvPr>
          <p:cNvSpPr txBox="1"/>
          <p:nvPr/>
        </p:nvSpPr>
        <p:spPr>
          <a:xfrm>
            <a:off x="116217" y="2362103"/>
            <a:ext cx="837094" cy="237526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F6FF57-2547-C01A-ADEF-41FD2C25D0DB}"/>
              </a:ext>
            </a:extLst>
          </p:cNvPr>
          <p:cNvSpPr txBox="1"/>
          <p:nvPr/>
        </p:nvSpPr>
        <p:spPr>
          <a:xfrm>
            <a:off x="0" y="4764360"/>
            <a:ext cx="35895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K = identity(1,1) = PK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2B2FC3-A9DE-009F-D262-FD24D62F946B}"/>
              </a:ext>
            </a:extLst>
          </p:cNvPr>
          <p:cNvSpPr txBox="1"/>
          <p:nvPr/>
        </p:nvSpPr>
        <p:spPr>
          <a:xfrm>
            <a:off x="979954" y="2362103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BFC56C-747D-E3F0-2531-A67994D0A05C}"/>
              </a:ext>
            </a:extLst>
          </p:cNvPr>
          <p:cNvSpPr txBox="1"/>
          <p:nvPr/>
        </p:nvSpPr>
        <p:spPr>
          <a:xfrm>
            <a:off x="751354" y="5148203"/>
            <a:ext cx="4803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BK + valid from = unique index</a:t>
            </a:r>
            <a:endParaRPr lang="nl-BE" sz="2400" dirty="0">
              <a:solidFill>
                <a:srgbClr val="00188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EFD9C4-3405-B08D-732F-8017609B1FE5}"/>
              </a:ext>
            </a:extLst>
          </p:cNvPr>
          <p:cNvSpPr txBox="1"/>
          <p:nvPr/>
        </p:nvSpPr>
        <p:spPr>
          <a:xfrm>
            <a:off x="8369733" y="2346956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699C9B-4E72-89BA-3512-E01F021AB8E9}"/>
              </a:ext>
            </a:extLst>
          </p:cNvPr>
          <p:cNvSpPr txBox="1"/>
          <p:nvPr/>
        </p:nvSpPr>
        <p:spPr>
          <a:xfrm>
            <a:off x="5958299" y="2346956"/>
            <a:ext cx="2411433" cy="239041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08027C-B4E4-E015-C632-5FA0B385D120}"/>
              </a:ext>
            </a:extLst>
          </p:cNvPr>
          <p:cNvSpPr txBox="1"/>
          <p:nvPr/>
        </p:nvSpPr>
        <p:spPr>
          <a:xfrm>
            <a:off x="6049688" y="4759744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udit column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08D9EE-69DD-C78D-7B4D-F0740509202D}"/>
              </a:ext>
            </a:extLst>
          </p:cNvPr>
          <p:cNvSpPr txBox="1"/>
          <p:nvPr/>
        </p:nvSpPr>
        <p:spPr>
          <a:xfrm>
            <a:off x="9842770" y="2346956"/>
            <a:ext cx="2206370" cy="2412788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68AED8-6D7F-871C-0B3C-C079DBD4AA13}"/>
              </a:ext>
            </a:extLst>
          </p:cNvPr>
          <p:cNvSpPr txBox="1"/>
          <p:nvPr/>
        </p:nvSpPr>
        <p:spPr>
          <a:xfrm>
            <a:off x="9834663" y="1842202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hashes</a:t>
            </a:r>
            <a:endParaRPr lang="nl-BE" sz="2400" dirty="0">
              <a:solidFill>
                <a:srgbClr val="0018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817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 animBg="1"/>
      <p:bldP spid="12" grpId="0"/>
      <p:bldP spid="13" grpId="0" animBg="1"/>
      <p:bldP spid="1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829DA-4144-E394-4DC2-E59D3DCE6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E1D4E0-5211-CF6C-8587-4CFF18F459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ransactional</a:t>
            </a:r>
          </a:p>
          <a:p>
            <a:pPr lvl="1"/>
            <a:r>
              <a:rPr lang="en-US" dirty="0"/>
              <a:t>TRUNCATE TABLE + full load is </a:t>
            </a:r>
            <a:r>
              <a:rPr lang="en-US" b="1" dirty="0"/>
              <a:t>default</a:t>
            </a:r>
          </a:p>
          <a:p>
            <a:pPr lvl="1"/>
            <a:r>
              <a:rPr lang="en-US" dirty="0"/>
              <a:t>if necessary, incremental load on some column</a:t>
            </a:r>
          </a:p>
          <a:p>
            <a:pPr lvl="1"/>
            <a:endParaRPr lang="en-US" dirty="0"/>
          </a:p>
          <a:p>
            <a:r>
              <a:rPr lang="en-US" dirty="0"/>
              <a:t>snapshot</a:t>
            </a:r>
          </a:p>
          <a:p>
            <a:pPr lvl="1"/>
            <a:r>
              <a:rPr lang="en-US" dirty="0"/>
              <a:t>view on source returns current snapshot</a:t>
            </a:r>
          </a:p>
          <a:p>
            <a:pPr lvl="1"/>
            <a:r>
              <a:rPr lang="en-US" dirty="0"/>
              <a:t>INSERT current snapshot in fact table</a:t>
            </a:r>
          </a:p>
          <a:p>
            <a:pPr lvl="1"/>
            <a:r>
              <a:rPr lang="en-US" dirty="0"/>
              <a:t>DELETE first if the current snapshot is already in the fact table</a:t>
            </a:r>
          </a:p>
          <a:p>
            <a:pPr lvl="1"/>
            <a:endParaRPr lang="en-US" dirty="0"/>
          </a:p>
          <a:p>
            <a:r>
              <a:rPr lang="en-US" dirty="0"/>
              <a:t>accumulating snapshot</a:t>
            </a:r>
          </a:p>
          <a:p>
            <a:pPr lvl="1"/>
            <a:r>
              <a:rPr lang="en-US" dirty="0"/>
              <a:t>view returns current state</a:t>
            </a:r>
          </a:p>
          <a:p>
            <a:pPr lvl="1"/>
            <a:r>
              <a:rPr lang="en-US" dirty="0"/>
              <a:t>INSERT for new items</a:t>
            </a:r>
          </a:p>
          <a:p>
            <a:pPr lvl="1"/>
            <a:r>
              <a:rPr lang="en-US" dirty="0"/>
              <a:t>UPDATE for existing items</a:t>
            </a:r>
            <a:endParaRPr lang="nl-BE" dirty="0"/>
          </a:p>
        </p:txBody>
      </p:sp>
      <p:pic>
        <p:nvPicPr>
          <p:cNvPr id="2050" name="Picture 2" descr="The Data Warehouse Toolkit: The Definitive Guide to Dimensional Modeling:  Kimball, Ralph, Ross, Margy: 8601405019745: Amazon.com: Books">
            <a:extLst>
              <a:ext uri="{FF2B5EF4-FFF2-40B4-BE49-F238E27FC236}">
                <a16:creationId xmlns:a16="http://schemas.microsoft.com/office/drawing/2014/main" id="{FA2E4A7F-9399-E3FB-E62C-D9C8ECAE2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2788" y="4513634"/>
            <a:ext cx="1859212" cy="2344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261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FAD5-410E-8C80-3E66-914B371D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4" name="Picture 2" descr="Afbeeldingsresultaat voor duplo race">
            <a:extLst>
              <a:ext uri="{FF2B5EF4-FFF2-40B4-BE49-F238E27FC236}">
                <a16:creationId xmlns:a16="http://schemas.microsoft.com/office/drawing/2014/main" id="{6C1FDCF8-A875-D234-AFE0-87CDA8768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784" y="2140674"/>
            <a:ext cx="5092390" cy="3819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28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834C6-6C42-2B09-A23C-CC6BAFC90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736B8-583A-4246-F63D-6523F8159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on’t use views when</a:t>
            </a:r>
          </a:p>
          <a:p>
            <a:pPr lvl="1"/>
            <a:r>
              <a:rPr lang="en-US" sz="2400" dirty="0"/>
              <a:t>performance is suffering</a:t>
            </a:r>
          </a:p>
          <a:p>
            <a:pPr lvl="1"/>
            <a:r>
              <a:rPr lang="en-US" sz="2400" dirty="0"/>
              <a:t>the logic is becoming too complex,</a:t>
            </a:r>
            <a:br>
              <a:rPr lang="en-US" sz="2400" dirty="0"/>
            </a:br>
            <a:r>
              <a:rPr lang="en-US" sz="2400" dirty="0"/>
              <a:t>and you want to cut it into pieces</a:t>
            </a:r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you know… as a last resort</a:t>
            </a:r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use stored procs instead</a:t>
            </a:r>
            <a:endParaRPr lang="nl-BE" sz="2400" dirty="0"/>
          </a:p>
        </p:txBody>
      </p:sp>
      <p:pic>
        <p:nvPicPr>
          <p:cNvPr id="1026" name="Picture 2" descr="Papa Roach - #ThrowbackThursday Let the memories flow in the comments... # paparoach #lastresort #infest | Facebook">
            <a:extLst>
              <a:ext uri="{FF2B5EF4-FFF2-40B4-BE49-F238E27FC236}">
                <a16:creationId xmlns:a16="http://schemas.microsoft.com/office/drawing/2014/main" id="{6CC2A0A1-DC9D-BEB0-3DB8-5486C3542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830" y="1457011"/>
            <a:ext cx="4162941" cy="2339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92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2DBD6B-020D-C973-7D7C-F7E2C164D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6D03BE-A57F-6A51-35C1-608C51C656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ependencies between tables</a:t>
            </a:r>
          </a:p>
          <a:p>
            <a:pPr lvl="1"/>
            <a:r>
              <a:rPr lang="en-US" sz="2400" dirty="0"/>
              <a:t>first dimensions</a:t>
            </a:r>
          </a:p>
          <a:p>
            <a:pPr lvl="1"/>
            <a:r>
              <a:rPr lang="en-US" sz="2400" dirty="0"/>
              <a:t>then facts</a:t>
            </a:r>
          </a:p>
          <a:p>
            <a:pPr lvl="1"/>
            <a:r>
              <a:rPr lang="en-US" sz="2400" dirty="0"/>
              <a:t>then facts on top of other facts</a:t>
            </a:r>
          </a:p>
          <a:p>
            <a:pPr lvl="1"/>
            <a:endParaRPr lang="en-US" sz="2400" dirty="0"/>
          </a:p>
          <a:p>
            <a:r>
              <a:rPr lang="en-US" sz="2800" dirty="0"/>
              <a:t>business keys &amp; which loading pattern</a:t>
            </a:r>
          </a:p>
          <a:p>
            <a:endParaRPr lang="en-US" sz="2800" dirty="0"/>
          </a:p>
          <a:p>
            <a:r>
              <a:rPr lang="en-US" sz="2800" dirty="0"/>
              <a:t>ADF loops over this table and executes all statements in the correct order</a:t>
            </a:r>
            <a:endParaRPr lang="nl-BE" sz="2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EF13D9-C1BE-3398-21B5-13559AF178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30818"/>
            <a:ext cx="12192000" cy="93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0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893E6-399E-24D7-1CF3-6AF5A94C7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T flow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E5761D-D521-1840-45FD-126283ACC6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37869"/>
            <a:ext cx="12192000" cy="215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33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893E6-399E-24D7-1CF3-6AF5A94C7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T flow – load DWH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F7889E-FEA3-8994-F34B-F6F95CB0D6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620" y="1961534"/>
            <a:ext cx="4660975" cy="22333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DC710F5-136C-D1D9-E660-4D56E4EAC1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0894" y="3374188"/>
            <a:ext cx="6248942" cy="2171888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553957A-EE5D-43B6-66C0-CED1A048F064}"/>
              </a:ext>
            </a:extLst>
          </p:cNvPr>
          <p:cNvCxnSpPr>
            <a:cxnSpLocks/>
          </p:cNvCxnSpPr>
          <p:nvPr/>
        </p:nvCxnSpPr>
        <p:spPr>
          <a:xfrm>
            <a:off x="3706239" y="3740285"/>
            <a:ext cx="1486356" cy="45463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F98153F-8FBF-FD4D-B976-1B130C119B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930818"/>
            <a:ext cx="12192000" cy="9365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F00819B-AD31-D629-9771-B04FB7230103}"/>
              </a:ext>
            </a:extLst>
          </p:cNvPr>
          <p:cNvSpPr txBox="1"/>
          <p:nvPr/>
        </p:nvSpPr>
        <p:spPr>
          <a:xfrm>
            <a:off x="7402352" y="6079787"/>
            <a:ext cx="2947878" cy="77821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C22CC57-4DDC-8791-E4B0-21D5C17F5A40}"/>
              </a:ext>
            </a:extLst>
          </p:cNvPr>
          <p:cNvCxnSpPr>
            <a:cxnSpLocks/>
          </p:cNvCxnSpPr>
          <p:nvPr/>
        </p:nvCxnSpPr>
        <p:spPr>
          <a:xfrm flipV="1">
            <a:off x="8519614" y="5058383"/>
            <a:ext cx="468743" cy="102140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382690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E5876-0D3B-876F-8DAF-5AA768D74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WH up and dow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2B7358-B7C8-D0DC-770F-34DB428EB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5572" y="2646268"/>
            <a:ext cx="8269705" cy="31288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ECC82E6-42F9-FC95-1AC2-43D89EB4AF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28576"/>
            <a:ext cx="3825572" cy="400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69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ED8F2-E66A-D430-8553-DDE6791B5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877D67-D6A4-150B-0BA2-954FA88689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ow To Scale Azure SQL Database In Azure Data Factory Using A Web Activit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4229894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30217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del &amp; serve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5715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0225E21-0573-7869-687F-FCE8FAA0C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</a:t>
            </a:r>
            <a:endParaRPr lang="nl-BE" dirty="0"/>
          </a:p>
        </p:txBody>
      </p:sp>
      <p:pic>
        <p:nvPicPr>
          <p:cNvPr id="6" name="Picture 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AB09D874-90E2-1680-094F-5E16AD4F59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610" y="1644258"/>
            <a:ext cx="4032780" cy="40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4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38213-5A9A-A871-8B92-907000BFE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598C71-804D-70A9-F633-F719ACFF59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1353800" cy="4719952"/>
          </a:xfrm>
        </p:spPr>
        <p:txBody>
          <a:bodyPr>
            <a:normAutofit/>
          </a:bodyPr>
          <a:lstStyle/>
          <a:p>
            <a:r>
              <a:rPr lang="en-US" sz="2800" b="1" dirty="0"/>
              <a:t>1 central model</a:t>
            </a:r>
            <a:r>
              <a:rPr lang="nl-BE" sz="2800" b="1" dirty="0"/>
              <a:t> </a:t>
            </a:r>
            <a:r>
              <a:rPr lang="nl-BE" sz="2800" dirty="0"/>
              <a:t>in a </a:t>
            </a:r>
            <a:r>
              <a:rPr lang="nl-BE" sz="2800" dirty="0" err="1"/>
              <a:t>workspace</a:t>
            </a:r>
            <a:r>
              <a:rPr lang="nl-BE" sz="2800" dirty="0"/>
              <a:t> </a:t>
            </a:r>
            <a:r>
              <a:rPr lang="nl-BE" sz="2800" dirty="0" err="1"/>
              <a:t>only</a:t>
            </a:r>
            <a:r>
              <a:rPr lang="nl-BE" sz="2800" dirty="0"/>
              <a:t> </a:t>
            </a:r>
            <a:r>
              <a:rPr lang="nl-BE" sz="2800" dirty="0" err="1"/>
              <a:t>admins</a:t>
            </a:r>
            <a:r>
              <a:rPr lang="nl-BE" sz="2800" dirty="0"/>
              <a:t> have access </a:t>
            </a:r>
            <a:r>
              <a:rPr lang="nl-BE" sz="2800" dirty="0" err="1"/>
              <a:t>to</a:t>
            </a:r>
            <a:endParaRPr lang="nl-BE" sz="2800" dirty="0"/>
          </a:p>
          <a:p>
            <a:r>
              <a:rPr lang="nl-BE" sz="2800" dirty="0" err="1"/>
              <a:t>reports</a:t>
            </a:r>
            <a:r>
              <a:rPr lang="nl-BE" sz="2800" dirty="0"/>
              <a:t> are </a:t>
            </a:r>
            <a:r>
              <a:rPr lang="nl-BE" sz="2800" dirty="0" err="1"/>
              <a:t>connected</a:t>
            </a:r>
            <a:r>
              <a:rPr lang="nl-BE" sz="2800" dirty="0"/>
              <a:t> </a:t>
            </a:r>
            <a:r>
              <a:rPr lang="nl-BE" sz="2800" dirty="0" err="1"/>
              <a:t>to</a:t>
            </a:r>
            <a:r>
              <a:rPr lang="nl-BE" sz="2800" dirty="0"/>
              <a:t> </a:t>
            </a:r>
            <a:r>
              <a:rPr lang="nl-BE" sz="2800" dirty="0" err="1"/>
              <a:t>this</a:t>
            </a:r>
            <a:r>
              <a:rPr lang="nl-BE" sz="2800" dirty="0"/>
              <a:t> </a:t>
            </a:r>
            <a:r>
              <a:rPr lang="nl-BE" sz="2800" dirty="0" err="1"/>
              <a:t>central</a:t>
            </a:r>
            <a:r>
              <a:rPr lang="nl-BE" sz="2800" dirty="0"/>
              <a:t> </a:t>
            </a:r>
            <a:r>
              <a:rPr lang="nl-BE" sz="2800" dirty="0" err="1"/>
              <a:t>semantic</a:t>
            </a:r>
            <a:r>
              <a:rPr lang="nl-BE" sz="2800" dirty="0"/>
              <a:t> model </a:t>
            </a:r>
            <a:r>
              <a:rPr lang="nl-BE" sz="2800" dirty="0" err="1"/>
              <a:t>and</a:t>
            </a:r>
            <a:r>
              <a:rPr lang="nl-BE" sz="2800" dirty="0"/>
              <a:t> have </a:t>
            </a:r>
            <a:r>
              <a:rPr lang="nl-BE" sz="2800" dirty="0" err="1"/>
              <a:t>their</a:t>
            </a:r>
            <a:r>
              <a:rPr lang="nl-BE" sz="2800" dirty="0"/>
              <a:t> </a:t>
            </a:r>
            <a:r>
              <a:rPr lang="nl-BE" sz="2800" dirty="0" err="1"/>
              <a:t>own</a:t>
            </a:r>
            <a:r>
              <a:rPr lang="nl-BE" sz="2800" dirty="0"/>
              <a:t> </a:t>
            </a:r>
            <a:r>
              <a:rPr lang="nl-BE" sz="2800" dirty="0" err="1"/>
              <a:t>workspace</a:t>
            </a:r>
            <a:r>
              <a:rPr lang="nl-BE" sz="2800" dirty="0"/>
              <a:t>/apps</a:t>
            </a:r>
          </a:p>
          <a:p>
            <a:endParaRPr lang="nl-BE" sz="2800" dirty="0"/>
          </a:p>
          <a:p>
            <a:r>
              <a:rPr lang="nl-BE" sz="2800" b="1" dirty="0"/>
              <a:t>import mode FTW</a:t>
            </a:r>
          </a:p>
          <a:p>
            <a:endParaRPr lang="nl-BE" sz="2800" dirty="0"/>
          </a:p>
          <a:p>
            <a:r>
              <a:rPr lang="nl-BE" sz="2800" dirty="0" err="1"/>
              <a:t>resize</a:t>
            </a:r>
            <a:r>
              <a:rPr lang="nl-BE" sz="2800" dirty="0"/>
              <a:t> database </a:t>
            </a:r>
            <a:r>
              <a:rPr lang="nl-BE" sz="2800" dirty="0" err="1"/>
              <a:t>to</a:t>
            </a:r>
            <a:r>
              <a:rPr lang="nl-BE" sz="2800" dirty="0"/>
              <a:t> S0 </a:t>
            </a:r>
            <a:r>
              <a:rPr lang="nl-BE" sz="2800" dirty="0" err="1"/>
              <a:t>once</a:t>
            </a:r>
            <a:r>
              <a:rPr lang="nl-BE" sz="2800" dirty="0"/>
              <a:t> Power BI has </a:t>
            </a:r>
            <a:r>
              <a:rPr lang="nl-BE" sz="2800" dirty="0" err="1"/>
              <a:t>finished</a:t>
            </a:r>
            <a:r>
              <a:rPr lang="nl-BE" sz="2800" dirty="0"/>
              <a:t> processing</a:t>
            </a:r>
          </a:p>
          <a:p>
            <a:r>
              <a:rPr lang="nl-BE" sz="2800" dirty="0"/>
              <a:t>ADF </a:t>
            </a:r>
            <a:r>
              <a:rPr lang="nl-BE" sz="2800" dirty="0" err="1"/>
              <a:t>can</a:t>
            </a:r>
            <a:r>
              <a:rPr lang="nl-BE" sz="2800" dirty="0"/>
              <a:t> </a:t>
            </a:r>
            <a:r>
              <a:rPr lang="nl-BE" sz="2800" dirty="0" err="1"/>
              <a:t>orchestrate</a:t>
            </a:r>
            <a:r>
              <a:rPr lang="nl-BE" sz="2800" dirty="0"/>
              <a:t> </a:t>
            </a:r>
            <a:r>
              <a:rPr lang="nl-BE" sz="2800" dirty="0" err="1"/>
              <a:t>this</a:t>
            </a:r>
            <a:r>
              <a:rPr lang="nl-BE" sz="2800" dirty="0"/>
              <a:t> </a:t>
            </a:r>
            <a:r>
              <a:rPr lang="nl-BE" sz="2800" dirty="0" err="1"/>
              <a:t>using</a:t>
            </a:r>
            <a:r>
              <a:rPr lang="nl-BE" sz="2800" dirty="0"/>
              <a:t> </a:t>
            </a:r>
            <a:r>
              <a:rPr lang="nl-BE" sz="2800" dirty="0" err="1"/>
              <a:t>the</a:t>
            </a:r>
            <a:r>
              <a:rPr lang="nl-BE" sz="2800" dirty="0"/>
              <a:t> Power BI REST API</a:t>
            </a:r>
            <a:endParaRPr lang="en-US" sz="2800" dirty="0"/>
          </a:p>
        </p:txBody>
      </p:sp>
      <p:pic>
        <p:nvPicPr>
          <p:cNvPr id="6" name="Content Placeholder 4" descr="A yellow and black rectangles&#10;&#10;Description automatically generated">
            <a:extLst>
              <a:ext uri="{FF2B5EF4-FFF2-40B4-BE49-F238E27FC236}">
                <a16:creationId xmlns:a16="http://schemas.microsoft.com/office/drawing/2014/main" id="{B892D60E-87BC-805A-1571-662B91C6D0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3120" y="5400989"/>
            <a:ext cx="981360" cy="130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87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4A891A68-40AF-E26C-EABC-39DE52EC40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648325" y="1434361"/>
            <a:ext cx="7952875" cy="418438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7200" dirty="0"/>
          </a:p>
          <a:p>
            <a:pPr marL="0" indent="0">
              <a:buNone/>
            </a:pPr>
            <a:r>
              <a:rPr lang="en-US" sz="7200" dirty="0"/>
              <a:t>there are some assumptions…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A81169F-5EC3-B29A-A659-2BF9BB09A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300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39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71782-09D3-D61F-E9A8-2AF311F1F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4F9F8-F507-1F7B-560F-18BB6F3EF1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Refreshing a Power BI Dataset using Azure Data Factor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5032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I / CD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5914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FD85B5-970D-C026-4A6F-AE78A1160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evops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F11034-7A20-EF75-558B-4B04409E9A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 control = git in Azure Repos</a:t>
            </a:r>
          </a:p>
          <a:p>
            <a:pPr lvl="1"/>
            <a:r>
              <a:rPr lang="en-US" dirty="0"/>
              <a:t>database: Visual Studio (SSDT) &amp; SSMS</a:t>
            </a:r>
          </a:p>
          <a:p>
            <a:pPr lvl="1"/>
            <a:r>
              <a:rPr lang="en-US" dirty="0"/>
              <a:t>Azure Functions: Visual Studio (Code)</a:t>
            </a:r>
          </a:p>
          <a:p>
            <a:pPr lvl="1"/>
            <a:r>
              <a:rPr lang="en-US" dirty="0"/>
              <a:t>ADF: browser</a:t>
            </a:r>
          </a:p>
          <a:p>
            <a:pPr lvl="1"/>
            <a:endParaRPr lang="en-US" dirty="0"/>
          </a:p>
          <a:p>
            <a:r>
              <a:rPr lang="en-US" dirty="0"/>
              <a:t>build pipelines runs after commit to </a:t>
            </a:r>
            <a:r>
              <a:rPr lang="en-US" i="1" dirty="0"/>
              <a:t>main</a:t>
            </a:r>
          </a:p>
          <a:p>
            <a:endParaRPr lang="en-US" i="1" dirty="0"/>
          </a:p>
          <a:p>
            <a:r>
              <a:rPr lang="en-US" dirty="0"/>
              <a:t>release pipelines to test/prod run manually</a:t>
            </a:r>
          </a:p>
          <a:p>
            <a:endParaRPr lang="en-US" dirty="0"/>
          </a:p>
          <a:p>
            <a:r>
              <a:rPr lang="en-US" dirty="0"/>
              <a:t>private project is free in Azure Devops when &lt;= 5 </a:t>
            </a:r>
            <a:r>
              <a:rPr lang="en-US" dirty="0" err="1"/>
              <a:t>devs</a:t>
            </a:r>
            <a:endParaRPr lang="en-US" dirty="0"/>
          </a:p>
          <a:p>
            <a:pPr lvl="1"/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26711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8616713" cy="1903106"/>
          </a:xfrm>
        </p:spPr>
        <p:txBody>
          <a:bodyPr/>
          <a:lstStyle/>
          <a:p>
            <a:r>
              <a:rPr lang="en-US" dirty="0"/>
              <a:t>what about Fabric?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8087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BF702F-F8B0-E202-8B70-5F929454E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thing in one single platform</a:t>
            </a:r>
            <a:endParaRPr lang="nl-BE" dirty="0"/>
          </a:p>
        </p:txBody>
      </p:sp>
      <p:pic>
        <p:nvPicPr>
          <p:cNvPr id="5" name="Afbeelding 6">
            <a:extLst>
              <a:ext uri="{FF2B5EF4-FFF2-40B4-BE49-F238E27FC236}">
                <a16:creationId xmlns:a16="http://schemas.microsoft.com/office/drawing/2014/main" id="{D1109A36-0A86-83AD-2CF7-B9262F7BB5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220" y="1816492"/>
            <a:ext cx="9053345" cy="4395597"/>
          </a:xfrm>
          <a:prstGeom prst="rect">
            <a:avLst/>
          </a:prstGeom>
        </p:spPr>
      </p:pic>
      <p:pic>
        <p:nvPicPr>
          <p:cNvPr id="7" name="Afbeelding 9" descr="Afbeelding met schermopname, Graphics, grafische vormgeving, ontwerp&#10;&#10;Automatisch gegenereerde beschrijving">
            <a:extLst>
              <a:ext uri="{FF2B5EF4-FFF2-40B4-BE49-F238E27FC236}">
                <a16:creationId xmlns:a16="http://schemas.microsoft.com/office/drawing/2014/main" id="{6805FAB6-EB3F-1A86-D1FB-F5B2DEC9C5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1662222"/>
            <a:ext cx="756115" cy="756115"/>
          </a:xfrm>
          <a:prstGeom prst="rect">
            <a:avLst/>
          </a:prstGeom>
        </p:spPr>
      </p:pic>
      <p:pic>
        <p:nvPicPr>
          <p:cNvPr id="8" name="Afbeelding 11" descr="Afbeelding met Graphics, Kleurrijkheid, cirkel, creativiteit&#10;&#10;Automatisch gegenereerde beschrijving">
            <a:extLst>
              <a:ext uri="{FF2B5EF4-FFF2-40B4-BE49-F238E27FC236}">
                <a16:creationId xmlns:a16="http://schemas.microsoft.com/office/drawing/2014/main" id="{6BB6D1A0-4441-18E3-C866-25707ABA90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069" y="3444774"/>
            <a:ext cx="299357" cy="299942"/>
          </a:xfrm>
          <a:prstGeom prst="rect">
            <a:avLst/>
          </a:prstGeom>
        </p:spPr>
      </p:pic>
      <p:pic>
        <p:nvPicPr>
          <p:cNvPr id="9" name="Afbeelding 13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0B946084-81EB-3515-1D3E-BEEF0DB972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8963" y="1956845"/>
            <a:ext cx="587204" cy="588351"/>
          </a:xfrm>
          <a:prstGeom prst="rect">
            <a:avLst/>
          </a:prstGeom>
        </p:spPr>
      </p:pic>
      <p:pic>
        <p:nvPicPr>
          <p:cNvPr id="10" name="Afbeelding 15" descr="Afbeelding met schermopname, Elektrisch blauw, Graphics, ontwerp&#10;&#10;Automatisch gegenereerde beschrijving">
            <a:extLst>
              <a:ext uri="{FF2B5EF4-FFF2-40B4-BE49-F238E27FC236}">
                <a16:creationId xmlns:a16="http://schemas.microsoft.com/office/drawing/2014/main" id="{EFBB0480-8462-11CB-3AF1-687BEE6A77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584" y="2840649"/>
            <a:ext cx="619583" cy="620793"/>
          </a:xfrm>
          <a:prstGeom prst="rect">
            <a:avLst/>
          </a:prstGeom>
        </p:spPr>
      </p:pic>
      <p:sp>
        <p:nvSpPr>
          <p:cNvPr id="11" name="Tekstvak 16">
            <a:extLst>
              <a:ext uri="{FF2B5EF4-FFF2-40B4-BE49-F238E27FC236}">
                <a16:creationId xmlns:a16="http://schemas.microsoft.com/office/drawing/2014/main" id="{5D6EE91F-8198-D38B-084C-BA7AA465A329}"/>
              </a:ext>
            </a:extLst>
          </p:cNvPr>
          <p:cNvSpPr txBox="1"/>
          <p:nvPr/>
        </p:nvSpPr>
        <p:spPr>
          <a:xfrm>
            <a:off x="10677265" y="2112520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ower BI</a:t>
            </a:r>
            <a:endParaRPr lang="en-US"/>
          </a:p>
        </p:txBody>
      </p:sp>
      <p:sp>
        <p:nvSpPr>
          <p:cNvPr id="12" name="Tekstvak 17">
            <a:extLst>
              <a:ext uri="{FF2B5EF4-FFF2-40B4-BE49-F238E27FC236}">
                <a16:creationId xmlns:a16="http://schemas.microsoft.com/office/drawing/2014/main" id="{DD9C567A-F432-046D-996A-49169F9E3EAD}"/>
              </a:ext>
            </a:extLst>
          </p:cNvPr>
          <p:cNvSpPr txBox="1"/>
          <p:nvPr/>
        </p:nvSpPr>
        <p:spPr>
          <a:xfrm>
            <a:off x="10467425" y="2920212"/>
            <a:ext cx="12057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Synapse</a:t>
            </a:r>
          </a:p>
          <a:p>
            <a:pPr algn="ctr"/>
            <a:r>
              <a:rPr lang="en-US" sz="1200"/>
              <a:t>Data Science</a:t>
            </a:r>
            <a:endParaRPr lang="en-US"/>
          </a:p>
        </p:txBody>
      </p:sp>
      <p:sp>
        <p:nvSpPr>
          <p:cNvPr id="13" name="Tekstvak 18">
            <a:extLst>
              <a:ext uri="{FF2B5EF4-FFF2-40B4-BE49-F238E27FC236}">
                <a16:creationId xmlns:a16="http://schemas.microsoft.com/office/drawing/2014/main" id="{E56F089B-7E12-73B1-EDD3-912C7D2561F2}"/>
              </a:ext>
            </a:extLst>
          </p:cNvPr>
          <p:cNvSpPr txBox="1"/>
          <p:nvPr/>
        </p:nvSpPr>
        <p:spPr>
          <a:xfrm>
            <a:off x="3813592" y="3679298"/>
            <a:ext cx="8082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/>
              <a:t>OneLake</a:t>
            </a:r>
            <a:endParaRPr lang="en-US" sz="1400"/>
          </a:p>
        </p:txBody>
      </p:sp>
      <p:pic>
        <p:nvPicPr>
          <p:cNvPr id="14" name="Afbeelding 20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6EAFFF02-2B45-0069-44FA-B4325A4292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0501" y="3644990"/>
            <a:ext cx="423782" cy="424609"/>
          </a:xfrm>
          <a:prstGeom prst="rect">
            <a:avLst/>
          </a:prstGeom>
        </p:spPr>
      </p:pic>
      <p:pic>
        <p:nvPicPr>
          <p:cNvPr id="15" name="Afbeelding 22" descr="Afbeelding met Graphics, Kleurrijkheid, grafische vormgeving, creativiteit&#10;&#10;Automatisch gegenereerde beschrijving">
            <a:extLst>
              <a:ext uri="{FF2B5EF4-FFF2-40B4-BE49-F238E27FC236}">
                <a16:creationId xmlns:a16="http://schemas.microsoft.com/office/drawing/2014/main" id="{E4F4C74E-0192-A2C6-020A-EEA868CEB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978" y="4139317"/>
            <a:ext cx="456793" cy="456793"/>
          </a:xfrm>
          <a:prstGeom prst="rect">
            <a:avLst/>
          </a:prstGeom>
        </p:spPr>
      </p:pic>
      <p:sp>
        <p:nvSpPr>
          <p:cNvPr id="16" name="Tekstvak 23">
            <a:extLst>
              <a:ext uri="{FF2B5EF4-FFF2-40B4-BE49-F238E27FC236}">
                <a16:creationId xmlns:a16="http://schemas.microsoft.com/office/drawing/2014/main" id="{7AF0FBBA-2585-5CD5-B967-C233E300CDA9}"/>
              </a:ext>
            </a:extLst>
          </p:cNvPr>
          <p:cNvSpPr txBox="1"/>
          <p:nvPr/>
        </p:nvSpPr>
        <p:spPr>
          <a:xfrm>
            <a:off x="10541977" y="3703744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Factory</a:t>
            </a:r>
            <a:endParaRPr lang="en-US"/>
          </a:p>
        </p:txBody>
      </p:sp>
      <p:sp>
        <p:nvSpPr>
          <p:cNvPr id="17" name="Tekstvak 24">
            <a:extLst>
              <a:ext uri="{FF2B5EF4-FFF2-40B4-BE49-F238E27FC236}">
                <a16:creationId xmlns:a16="http://schemas.microsoft.com/office/drawing/2014/main" id="{BD763AE2-533B-9F3F-DB74-CDD6EE9C5F72}"/>
              </a:ext>
            </a:extLst>
          </p:cNvPr>
          <p:cNvSpPr txBox="1"/>
          <p:nvPr/>
        </p:nvSpPr>
        <p:spPr>
          <a:xfrm>
            <a:off x="10511663" y="4220550"/>
            <a:ext cx="12939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Activator</a:t>
            </a:r>
            <a:endParaRPr lang="en-US"/>
          </a:p>
        </p:txBody>
      </p:sp>
      <p:pic>
        <p:nvPicPr>
          <p:cNvPr id="18" name="Afbeelding 26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0F3C62D9-1768-0048-AEAA-6E9908B0CB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978" y="3099261"/>
            <a:ext cx="673173" cy="244516"/>
          </a:xfrm>
          <a:prstGeom prst="rect">
            <a:avLst/>
          </a:prstGeom>
        </p:spPr>
      </p:pic>
      <p:pic>
        <p:nvPicPr>
          <p:cNvPr id="19" name="Afbeelding 27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BAF68975-6DC5-D930-4325-0436E0CEDE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179" y="3055993"/>
            <a:ext cx="244040" cy="244516"/>
          </a:xfrm>
          <a:prstGeom prst="rect">
            <a:avLst/>
          </a:prstGeom>
        </p:spPr>
      </p:pic>
      <p:sp>
        <p:nvSpPr>
          <p:cNvPr id="20" name="Tekstvak 28">
            <a:extLst>
              <a:ext uri="{FF2B5EF4-FFF2-40B4-BE49-F238E27FC236}">
                <a16:creationId xmlns:a16="http://schemas.microsoft.com/office/drawing/2014/main" id="{7D46A93C-3B0F-B009-AE6D-4F1517EC1304}"/>
              </a:ext>
            </a:extLst>
          </p:cNvPr>
          <p:cNvSpPr txBox="1"/>
          <p:nvPr/>
        </p:nvSpPr>
        <p:spPr>
          <a:xfrm>
            <a:off x="4082046" y="3028475"/>
            <a:ext cx="5581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Data</a:t>
            </a:r>
            <a:br>
              <a:rPr lang="en-US" sz="800"/>
            </a:br>
            <a:r>
              <a:rPr lang="en-US" sz="800"/>
              <a:t>Factory</a:t>
            </a:r>
            <a:endParaRPr lang="en-US" sz="1050"/>
          </a:p>
        </p:txBody>
      </p:sp>
      <p:sp>
        <p:nvSpPr>
          <p:cNvPr id="21" name="Tekstvak 31">
            <a:extLst>
              <a:ext uri="{FF2B5EF4-FFF2-40B4-BE49-F238E27FC236}">
                <a16:creationId xmlns:a16="http://schemas.microsoft.com/office/drawing/2014/main" id="{33FE3462-385B-417C-7950-4871A8EBE58D}"/>
              </a:ext>
            </a:extLst>
          </p:cNvPr>
          <p:cNvSpPr txBox="1"/>
          <p:nvPr/>
        </p:nvSpPr>
        <p:spPr>
          <a:xfrm>
            <a:off x="6521974" y="2629410"/>
            <a:ext cx="865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   Warehouse</a:t>
            </a:r>
            <a:endParaRPr lang="en-US" sz="105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E406C287-E688-7B4E-6AEE-1386A6BBB1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92183" y="2975565"/>
            <a:ext cx="304800" cy="314325"/>
          </a:xfrm>
          <a:prstGeom prst="rect">
            <a:avLst/>
          </a:prstGeom>
        </p:spPr>
      </p:pic>
      <p:sp>
        <p:nvSpPr>
          <p:cNvPr id="23" name="Tekstvak 34">
            <a:extLst>
              <a:ext uri="{FF2B5EF4-FFF2-40B4-BE49-F238E27FC236}">
                <a16:creationId xmlns:a16="http://schemas.microsoft.com/office/drawing/2014/main" id="{C83A1D21-EA25-8387-1D95-D480069D9922}"/>
              </a:ext>
            </a:extLst>
          </p:cNvPr>
          <p:cNvSpPr txBox="1"/>
          <p:nvPr/>
        </p:nvSpPr>
        <p:spPr>
          <a:xfrm>
            <a:off x="6649209" y="3046361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Lakehouse</a:t>
            </a:r>
            <a:endParaRPr lang="en-US" sz="1050"/>
          </a:p>
        </p:txBody>
      </p:sp>
      <p:pic>
        <p:nvPicPr>
          <p:cNvPr id="24" name="Afbeelding 36" descr="Afbeelding met schermopname, Graphics, Elektrisch blauw, grafische vormgeving&#10;&#10;Automatisch gegenereerde beschrijving">
            <a:extLst>
              <a:ext uri="{FF2B5EF4-FFF2-40B4-BE49-F238E27FC236}">
                <a16:creationId xmlns:a16="http://schemas.microsoft.com/office/drawing/2014/main" id="{2ED772D3-0896-F9A8-49E7-4D09064AA8C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179" y="2545196"/>
            <a:ext cx="244040" cy="244517"/>
          </a:xfrm>
          <a:prstGeom prst="rect">
            <a:avLst/>
          </a:prstGeom>
        </p:spPr>
      </p:pic>
      <p:sp>
        <p:nvSpPr>
          <p:cNvPr id="25" name="Tekstvak 37">
            <a:extLst>
              <a:ext uri="{FF2B5EF4-FFF2-40B4-BE49-F238E27FC236}">
                <a16:creationId xmlns:a16="http://schemas.microsoft.com/office/drawing/2014/main" id="{D0C22537-2D39-E069-8741-8E945D74AF1A}"/>
              </a:ext>
            </a:extLst>
          </p:cNvPr>
          <p:cNvSpPr txBox="1"/>
          <p:nvPr/>
        </p:nvSpPr>
        <p:spPr>
          <a:xfrm>
            <a:off x="4005050" y="2517084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Synapse</a:t>
            </a:r>
            <a:br>
              <a:rPr lang="en-US" sz="800"/>
            </a:br>
            <a:r>
              <a:rPr lang="en-US" sz="800"/>
              <a:t>RT Analytics</a:t>
            </a:r>
            <a:endParaRPr lang="en-US" sz="105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9D1401BE-2C7B-72F8-19D5-0F02DD25F10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01244" y="5852704"/>
            <a:ext cx="359385" cy="359385"/>
          </a:xfrm>
          <a:prstGeom prst="rect">
            <a:avLst/>
          </a:prstGeom>
        </p:spPr>
      </p:pic>
      <p:sp>
        <p:nvSpPr>
          <p:cNvPr id="27" name="Tekstvak 41">
            <a:extLst>
              <a:ext uri="{FF2B5EF4-FFF2-40B4-BE49-F238E27FC236}">
                <a16:creationId xmlns:a16="http://schemas.microsoft.com/office/drawing/2014/main" id="{FB943026-527A-C4F6-A576-A797FB4E92EB}"/>
              </a:ext>
            </a:extLst>
          </p:cNvPr>
          <p:cNvSpPr txBox="1"/>
          <p:nvPr/>
        </p:nvSpPr>
        <p:spPr>
          <a:xfrm>
            <a:off x="1560629" y="5893896"/>
            <a:ext cx="758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err="1"/>
              <a:t>Entra</a:t>
            </a:r>
            <a:r>
              <a:rPr lang="en-US" sz="1200"/>
              <a:t> ID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3F264B7D-138F-13B0-4AFB-6D43BC7525D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80839" y="6313253"/>
            <a:ext cx="359385" cy="359385"/>
          </a:xfrm>
          <a:prstGeom prst="rect">
            <a:avLst/>
          </a:prstGeom>
        </p:spPr>
      </p:pic>
      <p:sp>
        <p:nvSpPr>
          <p:cNvPr id="29" name="Tekstvak 44">
            <a:extLst>
              <a:ext uri="{FF2B5EF4-FFF2-40B4-BE49-F238E27FC236}">
                <a16:creationId xmlns:a16="http://schemas.microsoft.com/office/drawing/2014/main" id="{E90B5B8E-570D-C36B-C9E9-A5B1DC0AF132}"/>
              </a:ext>
            </a:extLst>
          </p:cNvPr>
          <p:cNvSpPr txBox="1"/>
          <p:nvPr/>
        </p:nvSpPr>
        <p:spPr>
          <a:xfrm>
            <a:off x="1560629" y="6354445"/>
            <a:ext cx="8899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Key Vault</a:t>
            </a:r>
            <a:endParaRPr lang="en-US"/>
          </a:p>
        </p:txBody>
      </p:sp>
      <p:sp>
        <p:nvSpPr>
          <p:cNvPr id="30" name="Tekstvak 47">
            <a:extLst>
              <a:ext uri="{FF2B5EF4-FFF2-40B4-BE49-F238E27FC236}">
                <a16:creationId xmlns:a16="http://schemas.microsoft.com/office/drawing/2014/main" id="{9A29DFB2-80CE-9D20-E248-BF6AF05317AB}"/>
              </a:ext>
            </a:extLst>
          </p:cNvPr>
          <p:cNvSpPr txBox="1"/>
          <p:nvPr/>
        </p:nvSpPr>
        <p:spPr>
          <a:xfrm>
            <a:off x="2774263" y="5893896"/>
            <a:ext cx="758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urview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EA6F7F7B-0A1E-BAB5-CA91-3ACD68B2117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59644" y="5852702"/>
            <a:ext cx="359385" cy="359385"/>
          </a:xfrm>
          <a:prstGeom prst="rect">
            <a:avLst/>
          </a:prstGeom>
        </p:spPr>
      </p:pic>
      <p:pic>
        <p:nvPicPr>
          <p:cNvPr id="32" name="Afbeelding 50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2CDFEF84-EC83-3287-9734-E7BE41A00F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5761" y="6375601"/>
            <a:ext cx="673173" cy="244516"/>
          </a:xfrm>
          <a:prstGeom prst="rect">
            <a:avLst/>
          </a:prstGeom>
        </p:spPr>
      </p:pic>
      <p:sp>
        <p:nvSpPr>
          <p:cNvPr id="33" name="Rechthoek 52">
            <a:extLst>
              <a:ext uri="{FF2B5EF4-FFF2-40B4-BE49-F238E27FC236}">
                <a16:creationId xmlns:a16="http://schemas.microsoft.com/office/drawing/2014/main" id="{D7490D1A-A44E-4B69-9C2D-F3413DEAF3DA}"/>
              </a:ext>
            </a:extLst>
          </p:cNvPr>
          <p:cNvSpPr/>
          <p:nvPr/>
        </p:nvSpPr>
        <p:spPr>
          <a:xfrm>
            <a:off x="3760952" y="5870512"/>
            <a:ext cx="4417524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kstvak 51">
            <a:extLst>
              <a:ext uri="{FF2B5EF4-FFF2-40B4-BE49-F238E27FC236}">
                <a16:creationId xmlns:a16="http://schemas.microsoft.com/office/drawing/2014/main" id="{1B3AF3E3-3FBE-39E9-91C3-6E82F1A99920}"/>
              </a:ext>
            </a:extLst>
          </p:cNvPr>
          <p:cNvSpPr txBox="1"/>
          <p:nvPr/>
        </p:nvSpPr>
        <p:spPr>
          <a:xfrm>
            <a:off x="4062546" y="5883009"/>
            <a:ext cx="7793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DevOps</a:t>
            </a:r>
            <a:endParaRPr lang="en-US"/>
          </a:p>
        </p:txBody>
      </p:sp>
      <p:pic>
        <p:nvPicPr>
          <p:cNvPr id="35" name="Picture 2" descr="Azure Devops Logo PNG vector in SVG, PDF, AI, CDR format">
            <a:extLst>
              <a:ext uri="{FF2B5EF4-FFF2-40B4-BE49-F238E27FC236}">
                <a16:creationId xmlns:a16="http://schemas.microsoft.com/office/drawing/2014/main" id="{DFA38FCC-5085-8AA3-E90C-937C58A88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9916" y="5853794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Afbeelding 53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77FAEA7A-59C7-2B05-18AC-733C4A755D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957" y="5905667"/>
            <a:ext cx="244801" cy="245279"/>
          </a:xfrm>
          <a:prstGeom prst="rect">
            <a:avLst/>
          </a:prstGeom>
        </p:spPr>
      </p:pic>
      <p:sp>
        <p:nvSpPr>
          <p:cNvPr id="37" name="Tekstvak 54">
            <a:extLst>
              <a:ext uri="{FF2B5EF4-FFF2-40B4-BE49-F238E27FC236}">
                <a16:creationId xmlns:a16="http://schemas.microsoft.com/office/drawing/2014/main" id="{76FD48B8-4E39-3A96-1BE2-96E3AF19829C}"/>
              </a:ext>
            </a:extLst>
          </p:cNvPr>
          <p:cNvSpPr txBox="1"/>
          <p:nvPr/>
        </p:nvSpPr>
        <p:spPr>
          <a:xfrm>
            <a:off x="6375133" y="5889806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Factory</a:t>
            </a:r>
            <a:endParaRPr lang="en-US"/>
          </a:p>
        </p:txBody>
      </p:sp>
      <p:sp>
        <p:nvSpPr>
          <p:cNvPr id="38" name="Tekstvak 55">
            <a:extLst>
              <a:ext uri="{FF2B5EF4-FFF2-40B4-BE49-F238E27FC236}">
                <a16:creationId xmlns:a16="http://schemas.microsoft.com/office/drawing/2014/main" id="{28D2F317-8E0D-01AB-52FD-77D3D69B41BA}"/>
              </a:ext>
            </a:extLst>
          </p:cNvPr>
          <p:cNvSpPr txBox="1"/>
          <p:nvPr/>
        </p:nvSpPr>
        <p:spPr>
          <a:xfrm>
            <a:off x="7913245" y="5883009"/>
            <a:ext cx="7793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DevOps</a:t>
            </a:r>
            <a:endParaRPr lang="en-US"/>
          </a:p>
        </p:txBody>
      </p:sp>
      <p:pic>
        <p:nvPicPr>
          <p:cNvPr id="39" name="Picture 2" descr="Azure Devops Logo PNG vector in SVG, PDF, AI, CDR format">
            <a:extLst>
              <a:ext uri="{FF2B5EF4-FFF2-40B4-BE49-F238E27FC236}">
                <a16:creationId xmlns:a16="http://schemas.microsoft.com/office/drawing/2014/main" id="{8DEE8351-1E5E-3FB7-ACCF-3197A340D2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0615" y="5853794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Azure Repos Logo PNG vector in SVG, PDF, AI, CDR format">
            <a:extLst>
              <a:ext uri="{FF2B5EF4-FFF2-40B4-BE49-F238E27FC236}">
                <a16:creationId xmlns:a16="http://schemas.microsoft.com/office/drawing/2014/main" id="{619DA9D4-2447-2AB1-1905-7B9ADCEB3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629" y="6254330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kstvak 58">
            <a:extLst>
              <a:ext uri="{FF2B5EF4-FFF2-40B4-BE49-F238E27FC236}">
                <a16:creationId xmlns:a16="http://schemas.microsoft.com/office/drawing/2014/main" id="{9DEEF073-ED8F-FFE5-6704-6EF501C0CDEC}"/>
              </a:ext>
            </a:extLst>
          </p:cNvPr>
          <p:cNvSpPr txBox="1"/>
          <p:nvPr/>
        </p:nvSpPr>
        <p:spPr>
          <a:xfrm>
            <a:off x="7913245" y="6313253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Repos</a:t>
            </a:r>
            <a:endParaRPr lang="en-US"/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80490792-2CFF-465C-3A07-58CD8F3DB84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783982" y="5877355"/>
            <a:ext cx="301900" cy="301900"/>
          </a:xfrm>
          <a:prstGeom prst="rect">
            <a:avLst/>
          </a:prstGeom>
        </p:spPr>
      </p:pic>
      <p:sp>
        <p:nvSpPr>
          <p:cNvPr id="43" name="Tekstvak 1030">
            <a:extLst>
              <a:ext uri="{FF2B5EF4-FFF2-40B4-BE49-F238E27FC236}">
                <a16:creationId xmlns:a16="http://schemas.microsoft.com/office/drawing/2014/main" id="{A93821CB-CE07-7EDA-B322-4BD8BDAF393A}"/>
              </a:ext>
            </a:extLst>
          </p:cNvPr>
          <p:cNvSpPr txBox="1"/>
          <p:nvPr/>
        </p:nvSpPr>
        <p:spPr>
          <a:xfrm>
            <a:off x="9053195" y="5877355"/>
            <a:ext cx="1608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Cost Management</a:t>
            </a:r>
            <a:endParaRPr lang="en-US"/>
          </a:p>
        </p:txBody>
      </p:sp>
      <p:pic>
        <p:nvPicPr>
          <p:cNvPr id="44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BA6C5328-EE37-CDF7-1B89-D2F1C4FC0D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6223" y="6303623"/>
            <a:ext cx="273057" cy="273591"/>
          </a:xfrm>
          <a:prstGeom prst="rect">
            <a:avLst/>
          </a:prstGeom>
        </p:spPr>
      </p:pic>
      <p:sp>
        <p:nvSpPr>
          <p:cNvPr id="45" name="Tekstvak 1032">
            <a:extLst>
              <a:ext uri="{FF2B5EF4-FFF2-40B4-BE49-F238E27FC236}">
                <a16:creationId xmlns:a16="http://schemas.microsoft.com/office/drawing/2014/main" id="{6C25D305-3621-297C-BA06-B94EF0D86CE6}"/>
              </a:ext>
            </a:extLst>
          </p:cNvPr>
          <p:cNvSpPr txBox="1"/>
          <p:nvPr/>
        </p:nvSpPr>
        <p:spPr>
          <a:xfrm>
            <a:off x="9066339" y="6313253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ower BI</a:t>
            </a:r>
            <a:endParaRPr lang="en-US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CC8D065A-590F-C891-E5FE-3C9223DE610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369574" y="2559855"/>
            <a:ext cx="304800" cy="314325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72CD42B-6EDC-B748-BD3C-1FCA18B14F9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074686" y="2541313"/>
            <a:ext cx="304800" cy="314325"/>
          </a:xfrm>
          <a:prstGeom prst="rect">
            <a:avLst/>
          </a:prstGeom>
        </p:spPr>
      </p:pic>
      <p:sp>
        <p:nvSpPr>
          <p:cNvPr id="48" name="Tekstvak 1043">
            <a:extLst>
              <a:ext uri="{FF2B5EF4-FFF2-40B4-BE49-F238E27FC236}">
                <a16:creationId xmlns:a16="http://schemas.microsoft.com/office/drawing/2014/main" id="{999DC872-FA44-86F5-1E6C-076A06322321}"/>
              </a:ext>
            </a:extLst>
          </p:cNvPr>
          <p:cNvSpPr txBox="1"/>
          <p:nvPr/>
        </p:nvSpPr>
        <p:spPr>
          <a:xfrm>
            <a:off x="5227086" y="2603650"/>
            <a:ext cx="865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   Notebooks</a:t>
            </a:r>
            <a:endParaRPr lang="en-US" sz="1050"/>
          </a:p>
        </p:txBody>
      </p:sp>
      <p:pic>
        <p:nvPicPr>
          <p:cNvPr id="49" name="Picture 2" descr="Getting started with Terraform in DevOps - Aviator Blog">
            <a:extLst>
              <a:ext uri="{FF2B5EF4-FFF2-40B4-BE49-F238E27FC236}">
                <a16:creationId xmlns:a16="http://schemas.microsoft.com/office/drawing/2014/main" id="{8BBDAB2E-B452-E1B5-F7E0-40F38B6C2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416" y="6291684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kstvak 2">
            <a:extLst>
              <a:ext uri="{FF2B5EF4-FFF2-40B4-BE49-F238E27FC236}">
                <a16:creationId xmlns:a16="http://schemas.microsoft.com/office/drawing/2014/main" id="{F5D1BDCE-418A-9382-A237-D58F16243C82}"/>
              </a:ext>
            </a:extLst>
          </p:cNvPr>
          <p:cNvSpPr txBox="1"/>
          <p:nvPr/>
        </p:nvSpPr>
        <p:spPr>
          <a:xfrm>
            <a:off x="4046979" y="6351051"/>
            <a:ext cx="88838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Terra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17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0790B-D98A-B05A-5AC2-E06A8DF43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at potential, but…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1E64A-374C-7F01-4DFF-FEC6394B1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9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some enterprise features are still missing</a:t>
            </a:r>
          </a:p>
          <a:p>
            <a:pPr lvl="1"/>
            <a:r>
              <a:rPr lang="en-US" dirty="0"/>
              <a:t>Key Vault</a:t>
            </a:r>
          </a:p>
          <a:p>
            <a:pPr lvl="1"/>
            <a:r>
              <a:rPr lang="en-US" dirty="0"/>
              <a:t>CI / CD for all artefacts (but they’re catching up!)</a:t>
            </a:r>
          </a:p>
          <a:p>
            <a:pPr lvl="1"/>
            <a:endParaRPr lang="en-US" dirty="0"/>
          </a:p>
          <a:p>
            <a:r>
              <a:rPr lang="en-US" dirty="0"/>
              <a:t>T-SQL is not fully supported (yet?)</a:t>
            </a:r>
          </a:p>
          <a:p>
            <a:pPr lvl="1"/>
            <a:r>
              <a:rPr lang="en-US" dirty="0"/>
              <a:t>IDENTITY</a:t>
            </a:r>
          </a:p>
          <a:p>
            <a:pPr lvl="1"/>
            <a:r>
              <a:rPr lang="en-US" dirty="0"/>
              <a:t>PK &amp; FK</a:t>
            </a:r>
          </a:p>
          <a:p>
            <a:pPr lvl="1"/>
            <a:r>
              <a:rPr lang="en-US" dirty="0"/>
              <a:t>limited VARCHAR(MAX)</a:t>
            </a:r>
          </a:p>
          <a:p>
            <a:pPr lvl="1"/>
            <a:r>
              <a:rPr lang="en-US" b="1" dirty="0"/>
              <a:t>but we now have SQL DB!</a:t>
            </a:r>
          </a:p>
          <a:p>
            <a:pPr lvl="1"/>
            <a:endParaRPr lang="en-US" dirty="0"/>
          </a:p>
          <a:p>
            <a:r>
              <a:rPr lang="en-US" dirty="0"/>
              <a:t>licensing with capacities can be confusing</a:t>
            </a:r>
          </a:p>
          <a:p>
            <a:pPr lvl="1"/>
            <a:r>
              <a:rPr lang="en-US" dirty="0"/>
              <a:t>how much did we consume exactly?</a:t>
            </a:r>
          </a:p>
          <a:p>
            <a:r>
              <a:rPr lang="en-US" dirty="0"/>
              <a:t>start low with an F2?</a:t>
            </a:r>
          </a:p>
          <a:p>
            <a:pPr lvl="1"/>
            <a:r>
              <a:rPr lang="en-US" dirty="0"/>
              <a:t>pause when not needed</a:t>
            </a:r>
          </a:p>
          <a:p>
            <a:r>
              <a:rPr lang="en-US" dirty="0"/>
              <a:t>you still need Power BI Pro</a:t>
            </a:r>
          </a:p>
          <a:p>
            <a:r>
              <a:rPr lang="en-US" dirty="0"/>
              <a:t>I’d still use Power BI import mode</a:t>
            </a:r>
            <a:endParaRPr lang="nl-BE" dirty="0"/>
          </a:p>
        </p:txBody>
      </p:sp>
      <p:pic>
        <p:nvPicPr>
          <p:cNvPr id="4" name="Afbeelding 9" descr="Afbeelding met schermopname, Graphics, grafische vormgeving, ontwerp&#10;&#10;Automatisch gegenereerde beschrijving">
            <a:extLst>
              <a:ext uri="{FF2B5EF4-FFF2-40B4-BE49-F238E27FC236}">
                <a16:creationId xmlns:a16="http://schemas.microsoft.com/office/drawing/2014/main" id="{2B4A5223-918D-0239-B3DF-E2610AAD8A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977" y="1289981"/>
            <a:ext cx="1979993" cy="1979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33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E8F53-91A0-DB72-06BF-EC90D6F85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498654-97BC-987F-BBBD-854D331C9C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Fabric February: An End-to-End Showcase of a Metadata-Driven Microsoft Fabric Framework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0086375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E5F937-9B2A-A5F8-4111-0535AFABD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BF2077-9174-4522-0026-38AE8B0FB1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cus on having a metadata driven architecture</a:t>
            </a:r>
          </a:p>
          <a:p>
            <a:endParaRPr lang="en-US" dirty="0"/>
          </a:p>
          <a:p>
            <a:r>
              <a:rPr lang="en-US" dirty="0"/>
              <a:t>minimize costs in ADF</a:t>
            </a:r>
          </a:p>
          <a:p>
            <a:pPr lvl="1"/>
            <a:r>
              <a:rPr lang="en-US" dirty="0"/>
              <a:t>change the defaults</a:t>
            </a:r>
          </a:p>
          <a:p>
            <a:pPr lvl="1"/>
            <a:r>
              <a:rPr lang="en-US" dirty="0"/>
              <a:t>outsource the compute</a:t>
            </a:r>
          </a:p>
          <a:p>
            <a:pPr lvl="1"/>
            <a:r>
              <a:rPr lang="en-US" dirty="0"/>
              <a:t>don’t run it every minute</a:t>
            </a:r>
          </a:p>
          <a:p>
            <a:endParaRPr lang="en-US" dirty="0"/>
          </a:p>
          <a:p>
            <a:r>
              <a:rPr lang="en-US" dirty="0"/>
              <a:t>scale the database up/down when needed</a:t>
            </a:r>
          </a:p>
          <a:p>
            <a:pPr lvl="1"/>
            <a:r>
              <a:rPr lang="en-US" dirty="0"/>
              <a:t>write efficient SQL so you can use a lower tier</a:t>
            </a:r>
          </a:p>
          <a:p>
            <a:pPr lvl="1"/>
            <a:endParaRPr lang="en-US" dirty="0"/>
          </a:p>
          <a:p>
            <a:r>
              <a:rPr lang="en-US" dirty="0"/>
              <a:t>and don’t forget … </a:t>
            </a:r>
            <a:r>
              <a:rPr lang="en-US" b="1" dirty="0"/>
              <a:t>you</a:t>
            </a:r>
            <a:r>
              <a:rPr lang="en-US" dirty="0"/>
              <a:t> are the most expensive part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044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3E4CE2-F414-9438-B04B-A6BF87D5D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58791C3-20F5-D1FD-C830-2871BBD97F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4881675"/>
              </p:ext>
            </p:extLst>
          </p:nvPr>
        </p:nvGraphicFramePr>
        <p:xfrm>
          <a:off x="2032000" y="1289981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9567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7F3AC-AAB3-0E9E-BC3E-D3D01D7C3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6232A9-88B1-98EC-DF6A-4EE1105417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80063"/>
            <a:ext cx="5401751" cy="48956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C253AF-914F-5F65-4E28-66625DA2BC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6526" y="1883096"/>
            <a:ext cx="5057274" cy="449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23943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thank you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656085"/>
            <a:ext cx="10515600" cy="47196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7200" dirty="0"/>
          </a:p>
          <a:p>
            <a:pPr marL="0" indent="0">
              <a:buNone/>
            </a:pPr>
            <a:r>
              <a:rPr lang="en-US" sz="7200" dirty="0"/>
              <a:t>if we can get the cost down to €100…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160497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what’s the most expensive part?</a:t>
            </a:r>
            <a:endParaRPr lang="nl-BE" dirty="0"/>
          </a:p>
        </p:txBody>
      </p:sp>
      <p:pic>
        <p:nvPicPr>
          <p:cNvPr id="6" name="Content Placeholder 5" descr="A black background with white spots&#10;&#10;Description automatically generated">
            <a:extLst>
              <a:ext uri="{FF2B5EF4-FFF2-40B4-BE49-F238E27FC236}">
                <a16:creationId xmlns:a16="http://schemas.microsoft.com/office/drawing/2014/main" id="{CD511024-C763-51D3-2DE7-FF46F3A72A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98" y="1058741"/>
            <a:ext cx="5525804" cy="5607582"/>
          </a:xfrm>
        </p:spPr>
      </p:pic>
    </p:spTree>
    <p:extLst>
      <p:ext uri="{BB962C8B-B14F-4D97-AF65-F5344CB8AC3E}">
        <p14:creationId xmlns:p14="http://schemas.microsoft.com/office/powerpoint/2010/main" val="339886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dirty="0"/>
              <a:t>aside from setting up a </a:t>
            </a:r>
            <a:r>
              <a:rPr lang="en-US" sz="6000" b="1" dirty="0"/>
              <a:t>cost-effective architecture</a:t>
            </a:r>
            <a:r>
              <a:rPr lang="en-US" sz="6000" dirty="0"/>
              <a:t>,</a:t>
            </a:r>
            <a:br>
              <a:rPr lang="en-US" sz="6000" dirty="0"/>
            </a:br>
            <a:br>
              <a:rPr lang="en-US" sz="6000" dirty="0"/>
            </a:br>
            <a:r>
              <a:rPr lang="en-US" sz="6000" dirty="0"/>
              <a:t>we’ll also optimize </a:t>
            </a:r>
            <a:r>
              <a:rPr lang="en-US" sz="6000" b="1" dirty="0"/>
              <a:t>development efficiency</a:t>
            </a:r>
            <a:endParaRPr lang="nl-BE" sz="6000" b="1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0616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1_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43289</TotalTime>
  <Words>1290</Words>
  <Application>Microsoft Office PowerPoint</Application>
  <PresentationFormat>Widescreen</PresentationFormat>
  <Paragraphs>379</Paragraphs>
  <Slides>61</Slides>
  <Notes>18</Notes>
  <HiddenSlides>2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70" baseType="lpstr">
      <vt:lpstr>Arial</vt:lpstr>
      <vt:lpstr>Calibri</vt:lpstr>
      <vt:lpstr>Century Gothic</vt:lpstr>
      <vt:lpstr>Century Gothic Bold</vt:lpstr>
      <vt:lpstr>IBM Plex Sans</vt:lpstr>
      <vt:lpstr>Wingdings</vt:lpstr>
      <vt:lpstr>AE Template</vt:lpstr>
      <vt:lpstr>1_AE Template</vt:lpstr>
      <vt:lpstr>think-cell Slide</vt:lpstr>
      <vt:lpstr>Building the €100 data warehouse with the Azure Data Platform</vt:lpstr>
      <vt:lpstr>Contact</vt:lpstr>
      <vt:lpstr>Building a €100 data warehouse</vt:lpstr>
      <vt:lpstr>Building a €100 data warehouse</vt:lpstr>
      <vt:lpstr>Building a €100 data warehouse</vt:lpstr>
      <vt:lpstr>Building a €100 data warehouse</vt:lpstr>
      <vt:lpstr>Building a €100 data warehouse</vt:lpstr>
      <vt:lpstr>what’s the most expensive part?</vt:lpstr>
      <vt:lpstr>Building a €100 data warehouse</vt:lpstr>
      <vt:lpstr>agenda</vt:lpstr>
      <vt:lpstr>architecture</vt:lpstr>
      <vt:lpstr>typical architecture</vt:lpstr>
      <vt:lpstr>we’re building a (simple) DWH</vt:lpstr>
      <vt:lpstr>we’re building a (simple) DWH</vt:lpstr>
      <vt:lpstr>we’re building a (simple) DWH</vt:lpstr>
      <vt:lpstr>ingest</vt:lpstr>
      <vt:lpstr>Azure Data Factory</vt:lpstr>
      <vt:lpstr>metadata driven</vt:lpstr>
      <vt:lpstr>parameterize everything</vt:lpstr>
      <vt:lpstr>parameterize everything</vt:lpstr>
      <vt:lpstr>fetch metadata &amp; loop</vt:lpstr>
      <vt:lpstr>fill in parameters at runtime</vt:lpstr>
      <vt:lpstr>cost</vt:lpstr>
      <vt:lpstr>important to remember</vt:lpstr>
      <vt:lpstr>example</vt:lpstr>
      <vt:lpstr>example</vt:lpstr>
      <vt:lpstr>50% cost saving with one single config</vt:lpstr>
      <vt:lpstr>move compute to somewhere else</vt:lpstr>
      <vt:lpstr>Azure Functions</vt:lpstr>
      <vt:lpstr>resources</vt:lpstr>
      <vt:lpstr>  demo</vt:lpstr>
      <vt:lpstr>transform</vt:lpstr>
      <vt:lpstr>it’s all SQL</vt:lpstr>
      <vt:lpstr>and it’s all about patterns</vt:lpstr>
      <vt:lpstr>type 1 dimension</vt:lpstr>
      <vt:lpstr>type 1 dimension</vt:lpstr>
      <vt:lpstr>type 2 dimension</vt:lpstr>
      <vt:lpstr>type 2 dimension</vt:lpstr>
      <vt:lpstr>facts</vt:lpstr>
      <vt:lpstr>exceptions</vt:lpstr>
      <vt:lpstr>metadata</vt:lpstr>
      <vt:lpstr>ELT flow</vt:lpstr>
      <vt:lpstr>ELT flow – load DWH</vt:lpstr>
      <vt:lpstr>scale DWH up and down</vt:lpstr>
      <vt:lpstr>resources</vt:lpstr>
      <vt:lpstr>  demo</vt:lpstr>
      <vt:lpstr>model &amp; serve</vt:lpstr>
      <vt:lpstr>Power BI</vt:lpstr>
      <vt:lpstr>Power BI</vt:lpstr>
      <vt:lpstr>PowerPoint Presentation</vt:lpstr>
      <vt:lpstr>resources</vt:lpstr>
      <vt:lpstr>CI / CD</vt:lpstr>
      <vt:lpstr>Azure Devops</vt:lpstr>
      <vt:lpstr>what about Fabric?</vt:lpstr>
      <vt:lpstr>everything in one single platform</vt:lpstr>
      <vt:lpstr>great potential, but…</vt:lpstr>
      <vt:lpstr>resources</vt:lpstr>
      <vt:lpstr>  conclusion</vt:lpstr>
      <vt:lpstr>Building a €100 data warehouse</vt:lpstr>
      <vt:lpstr>Building a €100 data warehouse</vt:lpstr>
      <vt:lpstr>  thank you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9</cp:revision>
  <dcterms:created xsi:type="dcterms:W3CDTF">2022-08-23T10:53:58Z</dcterms:created>
  <dcterms:modified xsi:type="dcterms:W3CDTF">2024-12-11T14:23:53Z</dcterms:modified>
</cp:coreProperties>
</file>